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4"/>
  </p:notesMasterIdLst>
  <p:sldIdLst>
    <p:sldId id="259" r:id="rId2"/>
    <p:sldId id="257" r:id="rId3"/>
    <p:sldId id="258" r:id="rId4"/>
    <p:sldId id="3401" r:id="rId5"/>
    <p:sldId id="260" r:id="rId6"/>
    <p:sldId id="261" r:id="rId7"/>
    <p:sldId id="262" r:id="rId8"/>
    <p:sldId id="3399" r:id="rId9"/>
    <p:sldId id="267" r:id="rId10"/>
    <p:sldId id="3400" r:id="rId11"/>
    <p:sldId id="3397" r:id="rId12"/>
    <p:sldId id="3392" r:id="rId13"/>
    <p:sldId id="334" r:id="rId14"/>
    <p:sldId id="3394" r:id="rId15"/>
    <p:sldId id="3395" r:id="rId16"/>
    <p:sldId id="3396" r:id="rId17"/>
    <p:sldId id="3388" r:id="rId18"/>
    <p:sldId id="3398" r:id="rId19"/>
    <p:sldId id="3390" r:id="rId20"/>
    <p:sldId id="268" r:id="rId21"/>
    <p:sldId id="269" r:id="rId22"/>
    <p:sldId id="275" r:id="rId23"/>
    <p:sldId id="278" r:id="rId24"/>
    <p:sldId id="284" r:id="rId25"/>
    <p:sldId id="285" r:id="rId26"/>
    <p:sldId id="283" r:id="rId27"/>
    <p:sldId id="3391" r:id="rId28"/>
    <p:sldId id="3393" r:id="rId29"/>
    <p:sldId id="3389" r:id="rId30"/>
    <p:sldId id="3386" r:id="rId31"/>
    <p:sldId id="264" r:id="rId32"/>
    <p:sldId id="256" r:id="rId33"/>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8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4694"/>
  </p:normalViewPr>
  <p:slideViewPr>
    <p:cSldViewPr snapToGrid="0">
      <p:cViewPr varScale="1">
        <p:scale>
          <a:sx n="82" d="100"/>
          <a:sy n="82" d="100"/>
        </p:scale>
        <p:origin x="874"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D9347A-3760-48A3-B57A-6909DD47360C}" type="doc">
      <dgm:prSet loTypeId="urn:microsoft.com/office/officeart/2008/layout/AscendingPictureAccentProcess" loCatId="process" qsTypeId="urn:microsoft.com/office/officeart/2005/8/quickstyle/simple1" qsCatId="simple" csTypeId="urn:microsoft.com/office/officeart/2005/8/colors/accent1_2" csCatId="accent1" phldr="1"/>
      <dgm:spPr/>
      <dgm:t>
        <a:bodyPr/>
        <a:lstStyle/>
        <a:p>
          <a:endParaRPr lang="en-US"/>
        </a:p>
      </dgm:t>
    </dgm:pt>
    <dgm:pt modelId="{7CF5FC55-BAE8-4807-BC38-EA92D2F3D911}">
      <dgm:prSet phldrT="[Text]"/>
      <dgm:spPr/>
      <dgm:t>
        <a:bodyPr/>
        <a:lstStyle/>
        <a:p>
          <a:r>
            <a:rPr lang="tr-TR" dirty="0"/>
            <a:t>Varlık</a:t>
          </a:r>
          <a:endParaRPr lang="en-US" dirty="0"/>
        </a:p>
      </dgm:t>
    </dgm:pt>
    <dgm:pt modelId="{2F91EDAB-0726-44A0-9EF3-937F19B845D4}" type="parTrans" cxnId="{FEAD1743-B435-47FD-8C43-2D61BA359C19}">
      <dgm:prSet/>
      <dgm:spPr/>
      <dgm:t>
        <a:bodyPr/>
        <a:lstStyle/>
        <a:p>
          <a:endParaRPr lang="en-US"/>
        </a:p>
      </dgm:t>
    </dgm:pt>
    <dgm:pt modelId="{7939B0C8-2D20-44A3-854E-F62E15D80CA0}" type="sibTrans" cxnId="{FEAD1743-B435-47FD-8C43-2D61BA359C19}">
      <dgm:prSet/>
      <dgm:spPr/>
      <dgm:t>
        <a:bodyPr/>
        <a:lstStyle/>
        <a:p>
          <a:endParaRPr lang="en-US"/>
        </a:p>
      </dgm:t>
    </dgm:pt>
    <dgm:pt modelId="{DC4631E0-ED83-4B0C-BBC9-B1F71B25AFDA}">
      <dgm:prSet phldrT="[Text]"/>
      <dgm:spPr/>
      <dgm:t>
        <a:bodyPr/>
        <a:lstStyle/>
        <a:p>
          <a:r>
            <a:rPr lang="tr-TR" dirty="0"/>
            <a:t>Değer</a:t>
          </a:r>
          <a:endParaRPr lang="en-US" dirty="0"/>
        </a:p>
      </dgm:t>
    </dgm:pt>
    <dgm:pt modelId="{1AEA0554-C225-4028-A6BE-B64C47535EAE}" type="parTrans" cxnId="{88234EAB-362D-4DE6-86C6-519FEEC59FDD}">
      <dgm:prSet/>
      <dgm:spPr/>
      <dgm:t>
        <a:bodyPr/>
        <a:lstStyle/>
        <a:p>
          <a:endParaRPr lang="en-US"/>
        </a:p>
      </dgm:t>
    </dgm:pt>
    <dgm:pt modelId="{0410E2EE-E7AD-4A21-A3C5-54A05F854CF6}" type="sibTrans" cxnId="{88234EAB-362D-4DE6-86C6-519FEEC59FDD}">
      <dgm:prSet/>
      <dgm:spPr/>
      <dgm:t>
        <a:bodyPr/>
        <a:lstStyle/>
        <a:p>
          <a:endParaRPr lang="en-US"/>
        </a:p>
      </dgm:t>
    </dgm:pt>
    <dgm:pt modelId="{3BD2EEF2-EAD7-4CAB-818D-24052E6548A1}">
      <dgm:prSet phldrT="[Text]"/>
      <dgm:spPr/>
      <dgm:t>
        <a:bodyPr/>
        <a:lstStyle/>
        <a:p>
          <a:r>
            <a:rPr lang="tr-TR" dirty="0"/>
            <a:t>Amaç</a:t>
          </a:r>
          <a:endParaRPr lang="en-US" dirty="0"/>
        </a:p>
      </dgm:t>
    </dgm:pt>
    <dgm:pt modelId="{66DB2D22-9F48-437A-8985-724D3956E517}" type="parTrans" cxnId="{EAF30AB4-2682-4304-8538-F9AA0AA09C81}">
      <dgm:prSet/>
      <dgm:spPr/>
      <dgm:t>
        <a:bodyPr/>
        <a:lstStyle/>
        <a:p>
          <a:endParaRPr lang="en-US"/>
        </a:p>
      </dgm:t>
    </dgm:pt>
    <dgm:pt modelId="{23B83DD5-D3C1-4E84-96FD-CFAA4794B054}" type="sibTrans" cxnId="{EAF30AB4-2682-4304-8538-F9AA0AA09C81}">
      <dgm:prSet/>
      <dgm:spPr/>
      <dgm:t>
        <a:bodyPr/>
        <a:lstStyle/>
        <a:p>
          <a:endParaRPr lang="en-US"/>
        </a:p>
      </dgm:t>
    </dgm:pt>
    <dgm:pt modelId="{CEFCDA17-31E7-4F81-AE36-8497D42018E5}" type="pres">
      <dgm:prSet presAssocID="{2AD9347A-3760-48A3-B57A-6909DD47360C}" presName="Name0" presStyleCnt="0">
        <dgm:presLayoutVars>
          <dgm:chMax val="7"/>
          <dgm:chPref val="7"/>
          <dgm:dir/>
        </dgm:presLayoutVars>
      </dgm:prSet>
      <dgm:spPr/>
    </dgm:pt>
    <dgm:pt modelId="{98141BE7-4AEB-4CC7-9E4F-2AAF02E68857}" type="pres">
      <dgm:prSet presAssocID="{2AD9347A-3760-48A3-B57A-6909DD47360C}" presName="dot1" presStyleLbl="alignNode1" presStyleIdx="0" presStyleCnt="12" custFlipVert="0" custFlipHor="0" custScaleX="43202" custScaleY="43202" custLinFactX="458721" custLinFactY="100000" custLinFactNeighborX="500000" custLinFactNeighborY="113048"/>
      <dgm:spPr/>
    </dgm:pt>
    <dgm:pt modelId="{4BA8BFC3-1141-4AC9-8206-DDCC8C204EC8}" type="pres">
      <dgm:prSet presAssocID="{2AD9347A-3760-48A3-B57A-6909DD47360C}" presName="dot2" presStyleLbl="alignNode1" presStyleIdx="1" presStyleCnt="12" custLinFactX="762360" custLinFactY="6525" custLinFactNeighborX="800000" custLinFactNeighborY="100000"/>
      <dgm:spPr/>
    </dgm:pt>
    <dgm:pt modelId="{0D6F0779-686C-431F-874C-853456E638E5}" type="pres">
      <dgm:prSet presAssocID="{2AD9347A-3760-48A3-B57A-6909DD47360C}" presName="dot3" presStyleLbl="alignNode1" presStyleIdx="2" presStyleCnt="12" custLinFactX="512589" custLinFactY="6523" custLinFactNeighborX="600000" custLinFactNeighborY="100000"/>
      <dgm:spPr/>
    </dgm:pt>
    <dgm:pt modelId="{A6ACFE8A-BCFC-401A-960A-0BF564EBA897}" type="pres">
      <dgm:prSet presAssocID="{2AD9347A-3760-48A3-B57A-6909DD47360C}" presName="dot4" presStyleLbl="alignNode1" presStyleIdx="3" presStyleCnt="12" custLinFactX="-178754" custLinFactY="-800000" custLinFactNeighborX="-200000" custLinFactNeighborY="-857048"/>
      <dgm:spPr/>
    </dgm:pt>
    <dgm:pt modelId="{A9126EEB-0860-4E3E-BAC6-F3FDCD205FE8}" type="pres">
      <dgm:prSet presAssocID="{2AD9347A-3760-48A3-B57A-6909DD47360C}" presName="dot5" presStyleLbl="alignNode1" presStyleIdx="4" presStyleCnt="12" custLinFactX="300000" custLinFactY="500000" custLinFactNeighborX="398326" custLinFactNeighborY="541573"/>
      <dgm:spPr/>
    </dgm:pt>
    <dgm:pt modelId="{043D463F-36DC-4417-8DDD-852DC46280AB}" type="pres">
      <dgm:prSet presAssocID="{2AD9347A-3760-48A3-B57A-6909DD47360C}" presName="dotArrow1" presStyleLbl="alignNode1" presStyleIdx="5" presStyleCnt="12" custLinFactX="-200000" custLinFactY="-100000" custLinFactNeighborX="-202426" custLinFactNeighborY="-195901"/>
      <dgm:spPr/>
    </dgm:pt>
    <dgm:pt modelId="{6F816962-E29C-45DC-A5E1-111040D56A9F}" type="pres">
      <dgm:prSet presAssocID="{2AD9347A-3760-48A3-B57A-6909DD47360C}" presName="dotArrow2" presStyleLbl="alignNode1" presStyleIdx="6" presStyleCnt="12" custLinFactX="-166918" custLinFactY="-100000" custLinFactNeighborX="-200000" custLinFactNeighborY="-136722"/>
      <dgm:spPr/>
    </dgm:pt>
    <dgm:pt modelId="{C42B780E-9032-43FF-BE01-95CE0EDAF26F}" type="pres">
      <dgm:prSet presAssocID="{2AD9347A-3760-48A3-B57A-6909DD47360C}" presName="dotArrow3" presStyleLbl="alignNode1" presStyleIdx="7" presStyleCnt="12" custLinFactX="-300000" custLinFactY="-42032" custLinFactNeighborX="-339146" custLinFactNeighborY="-100000"/>
      <dgm:spPr/>
    </dgm:pt>
    <dgm:pt modelId="{0BCD0DFD-807B-43C0-BA64-A1E3BBDD1CDB}" type="pres">
      <dgm:prSet presAssocID="{2AD9347A-3760-48A3-B57A-6909DD47360C}" presName="dotArrow4" presStyleLbl="alignNode1" presStyleIdx="8" presStyleCnt="12" custLinFactX="-400000" custLinFactY="-100000" custLinFactNeighborX="-452196" custLinFactNeighborY="-184066"/>
      <dgm:spPr/>
    </dgm:pt>
    <dgm:pt modelId="{C9075E01-4920-408F-B78E-4910D9761447}" type="pres">
      <dgm:prSet presAssocID="{2AD9347A-3760-48A3-B57A-6909DD47360C}" presName="dotArrow5" presStyleLbl="alignNode1" presStyleIdx="9" presStyleCnt="12" custLinFactX="-400000" custLinFactY="-107737" custLinFactNeighborX="-487704" custLinFactNeighborY="-200000"/>
      <dgm:spPr/>
    </dgm:pt>
    <dgm:pt modelId="{23A4E700-C0F5-46B7-B8B9-506F7AD0725B}" type="pres">
      <dgm:prSet presAssocID="{2AD9347A-3760-48A3-B57A-6909DD47360C}" presName="dotArrow6" presStyleLbl="alignNode1" presStyleIdx="10" presStyleCnt="12" custLinFactX="-208950" custLinFactY="-107737" custLinFactNeighborX="-300000" custLinFactNeighborY="-200000"/>
      <dgm:spPr/>
    </dgm:pt>
    <dgm:pt modelId="{EB0D3C26-7511-4A9A-A223-049A7F5374C6}" type="pres">
      <dgm:prSet presAssocID="{2AD9347A-3760-48A3-B57A-6909DD47360C}" presName="dotArrow7" presStyleLbl="alignNode1" presStyleIdx="11" presStyleCnt="12" custLinFactX="-200000" custLinFactY="-268132" custLinFactNeighborX="-273442" custLinFactNeighborY="-300000"/>
      <dgm:spPr/>
    </dgm:pt>
    <dgm:pt modelId="{62AB911C-47B6-4646-9A93-7B4A55858662}" type="pres">
      <dgm:prSet presAssocID="{7CF5FC55-BAE8-4807-BC38-EA92D2F3D911}" presName="parTx1" presStyleLbl="node1" presStyleIdx="0" presStyleCnt="3" custLinFactY="66185" custLinFactNeighborX="21949" custLinFactNeighborY="100000"/>
      <dgm:spPr/>
    </dgm:pt>
    <dgm:pt modelId="{B3390D2F-4F1E-4C63-B69D-353494DDA1F0}" type="pres">
      <dgm:prSet presAssocID="{7939B0C8-2D20-44A3-854E-F62E15D80CA0}" presName="picture1" presStyleCnt="0"/>
      <dgm:spPr/>
    </dgm:pt>
    <dgm:pt modelId="{6AAFDE20-50B8-452F-BDC1-38FC65FBE933}" type="pres">
      <dgm:prSet presAssocID="{7939B0C8-2D20-44A3-854E-F62E15D80CA0}" presName="imageRepeatNode" presStyleLbl="fgImgPlace1" presStyleIdx="0" presStyleCnt="3" custLinFactY="1549" custLinFactNeighborX="28114" custLinFactNeighborY="100000"/>
      <dgm:spPr/>
    </dgm:pt>
    <dgm:pt modelId="{3F7330DC-EF4F-4C12-95CB-9000F67496C5}" type="pres">
      <dgm:prSet presAssocID="{DC4631E0-ED83-4B0C-BBC9-B1F71B25AFDA}" presName="parTx2" presStyleLbl="node1" presStyleIdx="1" presStyleCnt="3" custLinFactNeighborX="-45535" custLinFactNeighborY="34405"/>
      <dgm:spPr/>
    </dgm:pt>
    <dgm:pt modelId="{F4E1AFC3-076D-4917-B828-B719A7172B5D}" type="pres">
      <dgm:prSet presAssocID="{0410E2EE-E7AD-4A21-A3C5-54A05F854CF6}" presName="picture2" presStyleCnt="0"/>
      <dgm:spPr/>
    </dgm:pt>
    <dgm:pt modelId="{E57AEFEC-8E40-4813-8CD4-A4949FB4F260}" type="pres">
      <dgm:prSet presAssocID="{0410E2EE-E7AD-4A21-A3C5-54A05F854CF6}" presName="imageRepeatNode" presStyleLbl="fgImgPlace1" presStyleIdx="1" presStyleCnt="3" custLinFactX="-10636" custLinFactNeighborX="-100000" custLinFactNeighborY="13021"/>
      <dgm:spPr/>
    </dgm:pt>
    <dgm:pt modelId="{2A506564-17CB-431C-926E-CDB034B6DFB9}" type="pres">
      <dgm:prSet presAssocID="{3BD2EEF2-EAD7-4CAB-818D-24052E6548A1}" presName="parTx3" presStyleLbl="node1" presStyleIdx="2" presStyleCnt="3" custLinFactY="-100000" custLinFactNeighborX="-71572" custLinFactNeighborY="-163416"/>
      <dgm:spPr/>
    </dgm:pt>
    <dgm:pt modelId="{2C4E942E-3C9A-4CD6-978E-AD7CD9F0BDB8}" type="pres">
      <dgm:prSet presAssocID="{23B83DD5-D3C1-4E84-96FD-CFAA4794B054}" presName="picture3" presStyleCnt="0"/>
      <dgm:spPr/>
    </dgm:pt>
    <dgm:pt modelId="{8334715E-E195-412E-B8CB-5D80A068F497}" type="pres">
      <dgm:prSet presAssocID="{23B83DD5-D3C1-4E84-96FD-CFAA4794B054}" presName="imageRepeatNode" presStyleLbl="fgImgPlace1" presStyleIdx="2" presStyleCnt="3" custLinFactX="-73108" custLinFactY="-38994" custLinFactNeighborX="-100000" custLinFactNeighborY="-100000"/>
      <dgm:spPr/>
    </dgm:pt>
  </dgm:ptLst>
  <dgm:cxnLst>
    <dgm:cxn modelId="{E7D92D16-2F7D-49A6-B08E-3EAA36D87628}" type="presOf" srcId="{23B83DD5-D3C1-4E84-96FD-CFAA4794B054}" destId="{8334715E-E195-412E-B8CB-5D80A068F497}" srcOrd="0" destOrd="0" presId="urn:microsoft.com/office/officeart/2008/layout/AscendingPictureAccentProcess"/>
    <dgm:cxn modelId="{B1D1AC62-5CD4-4153-9780-AA9E70BEEDE7}" type="presOf" srcId="{7CF5FC55-BAE8-4807-BC38-EA92D2F3D911}" destId="{62AB911C-47B6-4646-9A93-7B4A55858662}" srcOrd="0" destOrd="0" presId="urn:microsoft.com/office/officeart/2008/layout/AscendingPictureAccentProcess"/>
    <dgm:cxn modelId="{FEAD1743-B435-47FD-8C43-2D61BA359C19}" srcId="{2AD9347A-3760-48A3-B57A-6909DD47360C}" destId="{7CF5FC55-BAE8-4807-BC38-EA92D2F3D911}" srcOrd="0" destOrd="0" parTransId="{2F91EDAB-0726-44A0-9EF3-937F19B845D4}" sibTransId="{7939B0C8-2D20-44A3-854E-F62E15D80CA0}"/>
    <dgm:cxn modelId="{1485D490-068D-44AD-AC02-071552EA6622}" type="presOf" srcId="{2AD9347A-3760-48A3-B57A-6909DD47360C}" destId="{CEFCDA17-31E7-4F81-AE36-8497D42018E5}" srcOrd="0" destOrd="0" presId="urn:microsoft.com/office/officeart/2008/layout/AscendingPictureAccentProcess"/>
    <dgm:cxn modelId="{002A8D98-D84C-49ED-BE1B-64A6D28C9244}" type="presOf" srcId="{0410E2EE-E7AD-4A21-A3C5-54A05F854CF6}" destId="{E57AEFEC-8E40-4813-8CD4-A4949FB4F260}" srcOrd="0" destOrd="0" presId="urn:microsoft.com/office/officeart/2008/layout/AscendingPictureAccentProcess"/>
    <dgm:cxn modelId="{90FD2B9C-4192-48A6-869B-EECE350BF106}" type="presOf" srcId="{DC4631E0-ED83-4B0C-BBC9-B1F71B25AFDA}" destId="{3F7330DC-EF4F-4C12-95CB-9000F67496C5}" srcOrd="0" destOrd="0" presId="urn:microsoft.com/office/officeart/2008/layout/AscendingPictureAccentProcess"/>
    <dgm:cxn modelId="{88234EAB-362D-4DE6-86C6-519FEEC59FDD}" srcId="{2AD9347A-3760-48A3-B57A-6909DD47360C}" destId="{DC4631E0-ED83-4B0C-BBC9-B1F71B25AFDA}" srcOrd="1" destOrd="0" parTransId="{1AEA0554-C225-4028-A6BE-B64C47535EAE}" sibTransId="{0410E2EE-E7AD-4A21-A3C5-54A05F854CF6}"/>
    <dgm:cxn modelId="{EAF30AB4-2682-4304-8538-F9AA0AA09C81}" srcId="{2AD9347A-3760-48A3-B57A-6909DD47360C}" destId="{3BD2EEF2-EAD7-4CAB-818D-24052E6548A1}" srcOrd="2" destOrd="0" parTransId="{66DB2D22-9F48-437A-8985-724D3956E517}" sibTransId="{23B83DD5-D3C1-4E84-96FD-CFAA4794B054}"/>
    <dgm:cxn modelId="{0E7283BD-792C-4505-A81A-E5A6E0CC35A7}" type="presOf" srcId="{7939B0C8-2D20-44A3-854E-F62E15D80CA0}" destId="{6AAFDE20-50B8-452F-BDC1-38FC65FBE933}" srcOrd="0" destOrd="0" presId="urn:microsoft.com/office/officeart/2008/layout/AscendingPictureAccentProcess"/>
    <dgm:cxn modelId="{AFFE81C4-D7F5-4612-A539-AAA82EB45CB6}" type="presOf" srcId="{3BD2EEF2-EAD7-4CAB-818D-24052E6548A1}" destId="{2A506564-17CB-431C-926E-CDB034B6DFB9}" srcOrd="0" destOrd="0" presId="urn:microsoft.com/office/officeart/2008/layout/AscendingPictureAccentProcess"/>
    <dgm:cxn modelId="{CA698187-617D-4AAF-9377-28AE96E41904}" type="presParOf" srcId="{CEFCDA17-31E7-4F81-AE36-8497D42018E5}" destId="{98141BE7-4AEB-4CC7-9E4F-2AAF02E68857}" srcOrd="0" destOrd="0" presId="urn:microsoft.com/office/officeart/2008/layout/AscendingPictureAccentProcess"/>
    <dgm:cxn modelId="{020C6415-902D-4DA5-9229-866DDBD5E76A}" type="presParOf" srcId="{CEFCDA17-31E7-4F81-AE36-8497D42018E5}" destId="{4BA8BFC3-1141-4AC9-8206-DDCC8C204EC8}" srcOrd="1" destOrd="0" presId="urn:microsoft.com/office/officeart/2008/layout/AscendingPictureAccentProcess"/>
    <dgm:cxn modelId="{11AC3A4B-B864-4841-9503-3791E13390FD}" type="presParOf" srcId="{CEFCDA17-31E7-4F81-AE36-8497D42018E5}" destId="{0D6F0779-686C-431F-874C-853456E638E5}" srcOrd="2" destOrd="0" presId="urn:microsoft.com/office/officeart/2008/layout/AscendingPictureAccentProcess"/>
    <dgm:cxn modelId="{240E6A09-89E8-4E53-B6AF-21A0533CFB25}" type="presParOf" srcId="{CEFCDA17-31E7-4F81-AE36-8497D42018E5}" destId="{A6ACFE8A-BCFC-401A-960A-0BF564EBA897}" srcOrd="3" destOrd="0" presId="urn:microsoft.com/office/officeart/2008/layout/AscendingPictureAccentProcess"/>
    <dgm:cxn modelId="{FA808720-BC1C-4285-93B5-5FA0B2B9922F}" type="presParOf" srcId="{CEFCDA17-31E7-4F81-AE36-8497D42018E5}" destId="{A9126EEB-0860-4E3E-BAC6-F3FDCD205FE8}" srcOrd="4" destOrd="0" presId="urn:microsoft.com/office/officeart/2008/layout/AscendingPictureAccentProcess"/>
    <dgm:cxn modelId="{2866E8B6-25C9-45C8-A00F-BA6ADB78196B}" type="presParOf" srcId="{CEFCDA17-31E7-4F81-AE36-8497D42018E5}" destId="{043D463F-36DC-4417-8DDD-852DC46280AB}" srcOrd="5" destOrd="0" presId="urn:microsoft.com/office/officeart/2008/layout/AscendingPictureAccentProcess"/>
    <dgm:cxn modelId="{E43937DF-CA2F-4C90-B2AF-2D97AF0DB216}" type="presParOf" srcId="{CEFCDA17-31E7-4F81-AE36-8497D42018E5}" destId="{6F816962-E29C-45DC-A5E1-111040D56A9F}" srcOrd="6" destOrd="0" presId="urn:microsoft.com/office/officeart/2008/layout/AscendingPictureAccentProcess"/>
    <dgm:cxn modelId="{92039D6C-80F2-41BF-A8A7-95A53AB79AE1}" type="presParOf" srcId="{CEFCDA17-31E7-4F81-AE36-8497D42018E5}" destId="{C42B780E-9032-43FF-BE01-95CE0EDAF26F}" srcOrd="7" destOrd="0" presId="urn:microsoft.com/office/officeart/2008/layout/AscendingPictureAccentProcess"/>
    <dgm:cxn modelId="{12A551AE-6C9B-44FE-B036-C1A13A0E3F30}" type="presParOf" srcId="{CEFCDA17-31E7-4F81-AE36-8497D42018E5}" destId="{0BCD0DFD-807B-43C0-BA64-A1E3BBDD1CDB}" srcOrd="8" destOrd="0" presId="urn:microsoft.com/office/officeart/2008/layout/AscendingPictureAccentProcess"/>
    <dgm:cxn modelId="{6A9E3703-EE30-42EE-93B2-13CF27E2495A}" type="presParOf" srcId="{CEFCDA17-31E7-4F81-AE36-8497D42018E5}" destId="{C9075E01-4920-408F-B78E-4910D9761447}" srcOrd="9" destOrd="0" presId="urn:microsoft.com/office/officeart/2008/layout/AscendingPictureAccentProcess"/>
    <dgm:cxn modelId="{0ED98892-3F44-48D1-A170-1F943B765247}" type="presParOf" srcId="{CEFCDA17-31E7-4F81-AE36-8497D42018E5}" destId="{23A4E700-C0F5-46B7-B8B9-506F7AD0725B}" srcOrd="10" destOrd="0" presId="urn:microsoft.com/office/officeart/2008/layout/AscendingPictureAccentProcess"/>
    <dgm:cxn modelId="{8C71F1DC-EA90-4544-9FCF-795827440B32}" type="presParOf" srcId="{CEFCDA17-31E7-4F81-AE36-8497D42018E5}" destId="{EB0D3C26-7511-4A9A-A223-049A7F5374C6}" srcOrd="11" destOrd="0" presId="urn:microsoft.com/office/officeart/2008/layout/AscendingPictureAccentProcess"/>
    <dgm:cxn modelId="{A3225128-A6F6-403F-9F10-6A1F54215866}" type="presParOf" srcId="{CEFCDA17-31E7-4F81-AE36-8497D42018E5}" destId="{62AB911C-47B6-4646-9A93-7B4A55858662}" srcOrd="12" destOrd="0" presId="urn:microsoft.com/office/officeart/2008/layout/AscendingPictureAccentProcess"/>
    <dgm:cxn modelId="{ACD65ED0-5A00-4935-8D33-A42FD3D85804}" type="presParOf" srcId="{CEFCDA17-31E7-4F81-AE36-8497D42018E5}" destId="{B3390D2F-4F1E-4C63-B69D-353494DDA1F0}" srcOrd="13" destOrd="0" presId="urn:microsoft.com/office/officeart/2008/layout/AscendingPictureAccentProcess"/>
    <dgm:cxn modelId="{18E2F4A4-98C8-4370-9816-41A4951B78E3}" type="presParOf" srcId="{B3390D2F-4F1E-4C63-B69D-353494DDA1F0}" destId="{6AAFDE20-50B8-452F-BDC1-38FC65FBE933}" srcOrd="0" destOrd="0" presId="urn:microsoft.com/office/officeart/2008/layout/AscendingPictureAccentProcess"/>
    <dgm:cxn modelId="{FEFF9494-F887-477A-9688-C70EF43048C6}" type="presParOf" srcId="{CEFCDA17-31E7-4F81-AE36-8497D42018E5}" destId="{3F7330DC-EF4F-4C12-95CB-9000F67496C5}" srcOrd="14" destOrd="0" presId="urn:microsoft.com/office/officeart/2008/layout/AscendingPictureAccentProcess"/>
    <dgm:cxn modelId="{67F4A68C-1DD8-47E1-A5C5-C55D38D0CE92}" type="presParOf" srcId="{CEFCDA17-31E7-4F81-AE36-8497D42018E5}" destId="{F4E1AFC3-076D-4917-B828-B719A7172B5D}" srcOrd="15" destOrd="0" presId="urn:microsoft.com/office/officeart/2008/layout/AscendingPictureAccentProcess"/>
    <dgm:cxn modelId="{5B6C769F-8621-4518-A754-C4FB65AF2C33}" type="presParOf" srcId="{F4E1AFC3-076D-4917-B828-B719A7172B5D}" destId="{E57AEFEC-8E40-4813-8CD4-A4949FB4F260}" srcOrd="0" destOrd="0" presId="urn:microsoft.com/office/officeart/2008/layout/AscendingPictureAccentProcess"/>
    <dgm:cxn modelId="{88E1EB1B-305F-4E6A-8908-ADB7A168C5DA}" type="presParOf" srcId="{CEFCDA17-31E7-4F81-AE36-8497D42018E5}" destId="{2A506564-17CB-431C-926E-CDB034B6DFB9}" srcOrd="16" destOrd="0" presId="urn:microsoft.com/office/officeart/2008/layout/AscendingPictureAccentProcess"/>
    <dgm:cxn modelId="{3B329291-5367-4B19-A0B3-06321C70695F}" type="presParOf" srcId="{CEFCDA17-31E7-4F81-AE36-8497D42018E5}" destId="{2C4E942E-3C9A-4CD6-978E-AD7CD9F0BDB8}" srcOrd="17" destOrd="0" presId="urn:microsoft.com/office/officeart/2008/layout/AscendingPictureAccentProcess"/>
    <dgm:cxn modelId="{3ED6B75C-6615-46B4-91F1-42CB61F0B3D3}" type="presParOf" srcId="{2C4E942E-3C9A-4CD6-978E-AD7CD9F0BDB8}" destId="{8334715E-E195-412E-B8CB-5D80A068F497}" srcOrd="0" destOrd="0" presId="urn:microsoft.com/office/officeart/2008/layout/AscendingPictureAccent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7A4A71-843E-4CB5-AC3C-767CEFCDFD74}"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tr-TR"/>
        </a:p>
      </dgm:t>
    </dgm:pt>
    <dgm:pt modelId="{7AC481B3-2DC9-4F68-B0D8-04C6165B2F34}">
      <dgm:prSet phldrT="[Metin]" custT="1"/>
      <dgm:spPr>
        <a:xfrm rot="2093240">
          <a:off x="3024509" y="8696"/>
          <a:ext cx="857659" cy="857659"/>
        </a:xfrm>
        <a:prstGeom prst="rect">
          <a:avLst/>
        </a:prstGeom>
        <a:noFill/>
        <a:ln>
          <a:noFill/>
        </a:ln>
        <a:effectLst/>
      </dgm:spPr>
      <dgm:t>
        <a:bodyPr/>
        <a:lstStyle/>
        <a:p>
          <a:r>
            <a:rPr lang="tr-TR" sz="900" b="1" dirty="0">
              <a:solidFill>
                <a:sysClr val="windowText" lastClr="000000">
                  <a:hueOff val="0"/>
                  <a:satOff val="0"/>
                  <a:lumOff val="0"/>
                  <a:alphaOff val="0"/>
                </a:sysClr>
              </a:solidFill>
              <a:latin typeface="Calibri" panose="020F0502020204030204"/>
              <a:ea typeface="+mn-ea"/>
              <a:cs typeface="+mn-cs"/>
            </a:rPr>
            <a:t>İş devamlılığı</a:t>
          </a:r>
        </a:p>
      </dgm:t>
    </dgm:pt>
    <dgm:pt modelId="{2F889463-630A-4679-876B-8D920A384B58}" type="parTrans" cxnId="{0B72925B-A5BF-48E2-9615-3EDFFF5F849C}">
      <dgm:prSet/>
      <dgm:spPr/>
      <dgm:t>
        <a:bodyPr/>
        <a:lstStyle/>
        <a:p>
          <a:endParaRPr lang="tr-TR" sz="2000" b="1"/>
        </a:p>
      </dgm:t>
    </dgm:pt>
    <dgm:pt modelId="{1FC11DDE-D4D3-49E6-8F76-51E61EED8B90}" type="sibTrans" cxnId="{0B72925B-A5BF-48E2-9615-3EDFFF5F849C}">
      <dgm:prSet/>
      <dgm:spPr>
        <a:xfrm>
          <a:off x="397172" y="-437"/>
          <a:ext cx="4195676" cy="4195676"/>
        </a:xfrm>
        <a:prstGeom prst="circularArrow">
          <a:avLst>
            <a:gd name="adj1" fmla="val 3990"/>
            <a:gd name="adj2" fmla="val 250290"/>
            <a:gd name="adj3" fmla="val 20573170"/>
            <a:gd name="adj4" fmla="val 18982995"/>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tr-TR" sz="2000" b="1"/>
        </a:p>
      </dgm:t>
    </dgm:pt>
    <dgm:pt modelId="{FE417076-ECCC-4A0A-AAEB-36A270200113}">
      <dgm:prSet phldrT="[Metin]" custT="1"/>
      <dgm:spPr>
        <a:xfrm rot="5400000">
          <a:off x="3982838" y="1668571"/>
          <a:ext cx="857659" cy="857659"/>
        </a:xfrm>
        <a:prstGeom prst="rect">
          <a:avLst/>
        </a:prstGeom>
        <a:noFill/>
        <a:ln>
          <a:noFill/>
        </a:ln>
        <a:effectLst/>
      </dgm:spPr>
      <dgm:t>
        <a:bodyPr/>
        <a:lstStyle/>
        <a:p>
          <a:r>
            <a:rPr lang="tr-TR" sz="900" b="1" dirty="0">
              <a:solidFill>
                <a:sysClr val="windowText" lastClr="000000">
                  <a:hueOff val="0"/>
                  <a:satOff val="0"/>
                  <a:lumOff val="0"/>
                  <a:alphaOff val="0"/>
                </a:sysClr>
              </a:solidFill>
              <a:latin typeface="Calibri" panose="020F0502020204030204"/>
              <a:ea typeface="+mn-ea"/>
              <a:cs typeface="+mn-cs"/>
            </a:rPr>
            <a:t>Dağıtım</a:t>
          </a:r>
        </a:p>
      </dgm:t>
    </dgm:pt>
    <dgm:pt modelId="{FCE7B2B8-79F0-47C8-90C7-4895ECC82A93}" type="parTrans" cxnId="{C3B98ED4-21F0-4517-A2AF-D7D27F6FF6DC}">
      <dgm:prSet/>
      <dgm:spPr/>
      <dgm:t>
        <a:bodyPr/>
        <a:lstStyle/>
        <a:p>
          <a:endParaRPr lang="tr-TR" sz="2000" b="1"/>
        </a:p>
      </dgm:t>
    </dgm:pt>
    <dgm:pt modelId="{6059B5C9-E2B0-4217-9DB0-AD5B9BAFE1A8}" type="sibTrans" cxnId="{C3B98ED4-21F0-4517-A2AF-D7D27F6FF6DC}">
      <dgm:prSet/>
      <dgm:spPr>
        <a:xfrm>
          <a:off x="397172" y="-437"/>
          <a:ext cx="4195676" cy="4195676"/>
        </a:xfrm>
        <a:prstGeom prst="circularArrow">
          <a:avLst>
            <a:gd name="adj1" fmla="val 3990"/>
            <a:gd name="adj2" fmla="val 250290"/>
            <a:gd name="adj3" fmla="val 2366715"/>
            <a:gd name="adj4" fmla="val 776540"/>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tr-TR" sz="2000" b="1"/>
        </a:p>
      </dgm:t>
    </dgm:pt>
    <dgm:pt modelId="{53459449-19F9-4647-AAB8-A3CE1A6D0B29}">
      <dgm:prSet phldrT="[Metin]" custT="1"/>
      <dgm:spPr>
        <a:xfrm rot="19536997">
          <a:off x="3024509" y="3328445"/>
          <a:ext cx="857659" cy="857659"/>
        </a:xfrm>
        <a:prstGeom prst="rect">
          <a:avLst/>
        </a:prstGeom>
        <a:noFill/>
        <a:ln>
          <a:noFill/>
        </a:ln>
        <a:effectLst/>
      </dgm:spPr>
      <dgm:t>
        <a:bodyPr/>
        <a:lstStyle/>
        <a:p>
          <a:r>
            <a:rPr lang="tr-TR" sz="900" b="1">
              <a:solidFill>
                <a:sysClr val="windowText" lastClr="000000">
                  <a:hueOff val="0"/>
                  <a:satOff val="0"/>
                  <a:lumOff val="0"/>
                  <a:alphaOff val="0"/>
                </a:sysClr>
              </a:solidFill>
              <a:latin typeface="Calibri" panose="020F0502020204030204"/>
              <a:ea typeface="+mn-ea"/>
              <a:cs typeface="+mn-cs"/>
            </a:rPr>
            <a:t>Karlılık</a:t>
          </a:r>
        </a:p>
      </dgm:t>
    </dgm:pt>
    <dgm:pt modelId="{C88FBE97-1061-4DA4-A854-4F4BB6FCB7C4}" type="parTrans" cxnId="{1FAE7FEB-0E76-45EB-92E4-4609599B11E7}">
      <dgm:prSet/>
      <dgm:spPr/>
      <dgm:t>
        <a:bodyPr/>
        <a:lstStyle/>
        <a:p>
          <a:endParaRPr lang="tr-TR" sz="2000" b="1"/>
        </a:p>
      </dgm:t>
    </dgm:pt>
    <dgm:pt modelId="{00E0B6D4-AA00-4608-B9B5-66C991917058}" type="sibTrans" cxnId="{1FAE7FEB-0E76-45EB-92E4-4609599B11E7}">
      <dgm:prSet/>
      <dgm:spPr>
        <a:xfrm>
          <a:off x="397172" y="-437"/>
          <a:ext cx="4195676" cy="4195676"/>
        </a:xfrm>
        <a:prstGeom prst="circularArrow">
          <a:avLst>
            <a:gd name="adj1" fmla="val 3990"/>
            <a:gd name="adj2" fmla="val 250290"/>
            <a:gd name="adj3" fmla="val 6111114"/>
            <a:gd name="adj4" fmla="val 4438596"/>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tr-TR" sz="2000" b="1"/>
        </a:p>
      </dgm:t>
    </dgm:pt>
    <dgm:pt modelId="{B7399DCA-7C96-4356-B706-03F2D0B01BFD}">
      <dgm:prSet phldrT="[Metin]" custT="1"/>
      <dgm:spPr>
        <a:xfrm rot="1871485">
          <a:off x="1107851" y="3328445"/>
          <a:ext cx="857659" cy="857659"/>
        </a:xfrm>
        <a:prstGeom prst="rect">
          <a:avLst/>
        </a:prstGeom>
        <a:noFill/>
        <a:ln>
          <a:noFill/>
        </a:ln>
        <a:effectLst/>
      </dgm:spPr>
      <dgm:t>
        <a:bodyPr/>
        <a:lstStyle/>
        <a:p>
          <a:r>
            <a:rPr lang="tr-TR" sz="900" b="1">
              <a:solidFill>
                <a:sysClr val="windowText" lastClr="000000">
                  <a:hueOff val="0"/>
                  <a:satOff val="0"/>
                  <a:lumOff val="0"/>
                  <a:alphaOff val="0"/>
                </a:sysClr>
              </a:solidFill>
              <a:latin typeface="Calibri" panose="020F0502020204030204"/>
              <a:ea typeface="+mn-ea"/>
              <a:cs typeface="+mn-cs"/>
            </a:rPr>
            <a:t>Opresayonel Mükemmellik</a:t>
          </a:r>
        </a:p>
      </dgm:t>
    </dgm:pt>
    <dgm:pt modelId="{DB134204-9210-4BFD-BBA0-1784A2AB1CB8}" type="parTrans" cxnId="{BE8DE356-DB36-4C3C-8FB3-A01B89131BE9}">
      <dgm:prSet/>
      <dgm:spPr/>
      <dgm:t>
        <a:bodyPr/>
        <a:lstStyle/>
        <a:p>
          <a:endParaRPr lang="tr-TR" sz="2000" b="1"/>
        </a:p>
      </dgm:t>
    </dgm:pt>
    <dgm:pt modelId="{1FCDA44E-4E8E-4518-AAC3-417C658662E6}" type="sibTrans" cxnId="{BE8DE356-DB36-4C3C-8FB3-A01B89131BE9}">
      <dgm:prSet/>
      <dgm:spPr>
        <a:xfrm>
          <a:off x="397172" y="-437"/>
          <a:ext cx="4195676" cy="4195676"/>
        </a:xfrm>
        <a:prstGeom prst="circularArrow">
          <a:avLst>
            <a:gd name="adj1" fmla="val 3990"/>
            <a:gd name="adj2" fmla="val 250290"/>
            <a:gd name="adj3" fmla="val 9773170"/>
            <a:gd name="adj4" fmla="val 8182995"/>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tr-TR" sz="2000" b="1"/>
        </a:p>
      </dgm:t>
    </dgm:pt>
    <dgm:pt modelId="{2EB41750-2412-4FEE-819A-1CC32C2E4473}">
      <dgm:prSet phldrT="[Metin]" custT="1"/>
      <dgm:spPr>
        <a:xfrm rot="16200000">
          <a:off x="149523" y="1668571"/>
          <a:ext cx="857659" cy="857659"/>
        </a:xfrm>
        <a:prstGeom prst="rect">
          <a:avLst/>
        </a:prstGeom>
        <a:noFill/>
        <a:ln>
          <a:noFill/>
        </a:ln>
        <a:effectLst/>
      </dgm:spPr>
      <dgm:t>
        <a:bodyPr/>
        <a:lstStyle/>
        <a:p>
          <a:r>
            <a:rPr lang="tr-TR" sz="900" b="1" dirty="0">
              <a:solidFill>
                <a:sysClr val="windowText" lastClr="000000">
                  <a:hueOff val="0"/>
                  <a:satOff val="0"/>
                  <a:lumOff val="0"/>
                  <a:alphaOff val="0"/>
                </a:sysClr>
              </a:solidFill>
              <a:latin typeface="Calibri" panose="020F0502020204030204"/>
              <a:ea typeface="+mn-ea"/>
              <a:cs typeface="+mn-cs"/>
            </a:rPr>
            <a:t>Sürdürülebilirlik</a:t>
          </a:r>
          <a:endParaRPr lang="tr-TR" sz="1000" b="1" dirty="0">
            <a:solidFill>
              <a:sysClr val="windowText" lastClr="000000">
                <a:hueOff val="0"/>
                <a:satOff val="0"/>
                <a:lumOff val="0"/>
                <a:alphaOff val="0"/>
              </a:sysClr>
            </a:solidFill>
            <a:latin typeface="Calibri" panose="020F0502020204030204"/>
            <a:ea typeface="+mn-ea"/>
            <a:cs typeface="+mn-cs"/>
          </a:endParaRPr>
        </a:p>
      </dgm:t>
    </dgm:pt>
    <dgm:pt modelId="{CF642752-6991-47AD-909A-B06E30B55243}" type="parTrans" cxnId="{4A4B1891-57C7-4F73-8696-A6E1FE982D36}">
      <dgm:prSet/>
      <dgm:spPr/>
      <dgm:t>
        <a:bodyPr/>
        <a:lstStyle/>
        <a:p>
          <a:endParaRPr lang="tr-TR" sz="2000" b="1"/>
        </a:p>
      </dgm:t>
    </dgm:pt>
    <dgm:pt modelId="{4EC90E7B-C2B5-4EB9-B6FF-03E822BC52E2}" type="sibTrans" cxnId="{4A4B1891-57C7-4F73-8696-A6E1FE982D36}">
      <dgm:prSet/>
      <dgm:spPr>
        <a:xfrm>
          <a:off x="397172" y="-437"/>
          <a:ext cx="4195676" cy="4195676"/>
        </a:xfrm>
        <a:prstGeom prst="circularArrow">
          <a:avLst>
            <a:gd name="adj1" fmla="val 3990"/>
            <a:gd name="adj2" fmla="val 250290"/>
            <a:gd name="adj3" fmla="val 13166715"/>
            <a:gd name="adj4" fmla="val 11576540"/>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tr-TR" sz="2000" b="1"/>
        </a:p>
      </dgm:t>
    </dgm:pt>
    <dgm:pt modelId="{264F0783-F97D-46E0-A62A-A00520EEDD2C}">
      <dgm:prSet phldrT="[Metin]" custT="1"/>
      <dgm:spPr>
        <a:xfrm rot="19669881">
          <a:off x="1107851" y="8696"/>
          <a:ext cx="857659" cy="857659"/>
        </a:xfrm>
        <a:prstGeom prst="rect">
          <a:avLst/>
        </a:prstGeom>
        <a:noFill/>
        <a:ln>
          <a:noFill/>
        </a:ln>
        <a:effectLst/>
      </dgm:spPr>
      <dgm:t>
        <a:bodyPr/>
        <a:lstStyle/>
        <a:p>
          <a:r>
            <a:rPr lang="tr-TR" sz="900" b="1" dirty="0">
              <a:solidFill>
                <a:sysClr val="windowText" lastClr="000000">
                  <a:hueOff val="0"/>
                  <a:satOff val="0"/>
                  <a:lumOff val="0"/>
                  <a:alphaOff val="0"/>
                </a:sysClr>
              </a:solidFill>
              <a:latin typeface="Calibri" panose="020F0502020204030204"/>
              <a:ea typeface="+mn-ea"/>
              <a:cs typeface="+mn-cs"/>
            </a:rPr>
            <a:t>Gelecek İnşa Etmek</a:t>
          </a:r>
        </a:p>
      </dgm:t>
    </dgm:pt>
    <dgm:pt modelId="{89E5EE7B-EAFE-409C-9060-CD5166416D88}" type="parTrans" cxnId="{2321C022-1386-4375-B14F-4ECE79C25CFE}">
      <dgm:prSet/>
      <dgm:spPr/>
      <dgm:t>
        <a:bodyPr/>
        <a:lstStyle/>
        <a:p>
          <a:endParaRPr lang="tr-TR" sz="2000" b="1"/>
        </a:p>
      </dgm:t>
    </dgm:pt>
    <dgm:pt modelId="{814CAD1B-A379-4DAE-B0F1-CF5C5A9931F5}" type="sibTrans" cxnId="{2321C022-1386-4375-B14F-4ECE79C25CFE}">
      <dgm:prSet/>
      <dgm:spPr>
        <a:xfrm>
          <a:off x="397172" y="-437"/>
          <a:ext cx="4195676" cy="4195676"/>
        </a:xfrm>
        <a:prstGeom prst="circularArrow">
          <a:avLst>
            <a:gd name="adj1" fmla="val 3990"/>
            <a:gd name="adj2" fmla="val 250290"/>
            <a:gd name="adj3" fmla="val 16911114"/>
            <a:gd name="adj4" fmla="val 15238596"/>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tr-TR" sz="2000" b="1"/>
        </a:p>
      </dgm:t>
    </dgm:pt>
    <dgm:pt modelId="{AB7AFE48-F716-44EA-9DC2-045B3C08C60D}" type="pres">
      <dgm:prSet presAssocID="{E97A4A71-843E-4CB5-AC3C-767CEFCDFD74}" presName="cycle" presStyleCnt="0">
        <dgm:presLayoutVars>
          <dgm:dir/>
          <dgm:resizeHandles val="exact"/>
        </dgm:presLayoutVars>
      </dgm:prSet>
      <dgm:spPr/>
    </dgm:pt>
    <dgm:pt modelId="{7945C966-A53D-4925-BDC7-03AEAF6D976F}" type="pres">
      <dgm:prSet presAssocID="{7AC481B3-2DC9-4F68-B0D8-04C6165B2F34}" presName="dummy" presStyleCnt="0"/>
      <dgm:spPr/>
    </dgm:pt>
    <dgm:pt modelId="{5785EA4B-8A9C-436C-841A-EA8BC1BF4E40}" type="pres">
      <dgm:prSet presAssocID="{7AC481B3-2DC9-4F68-B0D8-04C6165B2F34}" presName="node" presStyleLbl="revTx" presStyleIdx="0" presStyleCnt="6" custAng="2093240">
        <dgm:presLayoutVars>
          <dgm:bulletEnabled val="1"/>
        </dgm:presLayoutVars>
      </dgm:prSet>
      <dgm:spPr/>
    </dgm:pt>
    <dgm:pt modelId="{ADE481A2-9CBA-49CA-A096-97E8F4EF82BF}" type="pres">
      <dgm:prSet presAssocID="{1FC11DDE-D4D3-49E6-8F76-51E61EED8B90}" presName="sibTrans" presStyleLbl="node1" presStyleIdx="0" presStyleCnt="6"/>
      <dgm:spPr/>
    </dgm:pt>
    <dgm:pt modelId="{B034D1C4-2377-4604-86F9-B094749D1525}" type="pres">
      <dgm:prSet presAssocID="{FE417076-ECCC-4A0A-AAEB-36A270200113}" presName="dummy" presStyleCnt="0"/>
      <dgm:spPr/>
    </dgm:pt>
    <dgm:pt modelId="{3EEA7C1D-EB23-44E0-A50A-340DA875F215}" type="pres">
      <dgm:prSet presAssocID="{FE417076-ECCC-4A0A-AAEB-36A270200113}" presName="node" presStyleLbl="revTx" presStyleIdx="1" presStyleCnt="6" custAng="5400000">
        <dgm:presLayoutVars>
          <dgm:bulletEnabled val="1"/>
        </dgm:presLayoutVars>
      </dgm:prSet>
      <dgm:spPr/>
    </dgm:pt>
    <dgm:pt modelId="{6E013AF6-7AC6-4DBA-8AEC-EF4B3FCAF2FA}" type="pres">
      <dgm:prSet presAssocID="{6059B5C9-E2B0-4217-9DB0-AD5B9BAFE1A8}" presName="sibTrans" presStyleLbl="node1" presStyleIdx="1" presStyleCnt="6"/>
      <dgm:spPr/>
    </dgm:pt>
    <dgm:pt modelId="{228A6C53-6B4F-4553-8CB0-5A0E985EF43C}" type="pres">
      <dgm:prSet presAssocID="{53459449-19F9-4647-AAB8-A3CE1A6D0B29}" presName="dummy" presStyleCnt="0"/>
      <dgm:spPr/>
    </dgm:pt>
    <dgm:pt modelId="{2323EEE8-1CFE-48C8-A24B-C7DF1142D7E2}" type="pres">
      <dgm:prSet presAssocID="{53459449-19F9-4647-AAB8-A3CE1A6D0B29}" presName="node" presStyleLbl="revTx" presStyleIdx="2" presStyleCnt="6" custAng="19536997">
        <dgm:presLayoutVars>
          <dgm:bulletEnabled val="1"/>
        </dgm:presLayoutVars>
      </dgm:prSet>
      <dgm:spPr/>
    </dgm:pt>
    <dgm:pt modelId="{1049EE93-6913-425E-BFA6-B52342DE2BC8}" type="pres">
      <dgm:prSet presAssocID="{00E0B6D4-AA00-4608-B9B5-66C991917058}" presName="sibTrans" presStyleLbl="node1" presStyleIdx="2" presStyleCnt="6"/>
      <dgm:spPr/>
    </dgm:pt>
    <dgm:pt modelId="{9C333F2E-49E8-4938-981B-EC7C528A0AB0}" type="pres">
      <dgm:prSet presAssocID="{B7399DCA-7C96-4356-B706-03F2D0B01BFD}" presName="dummy" presStyleCnt="0"/>
      <dgm:spPr/>
    </dgm:pt>
    <dgm:pt modelId="{C481CD7B-6BCF-4D43-A099-3B0B43AF3A24}" type="pres">
      <dgm:prSet presAssocID="{B7399DCA-7C96-4356-B706-03F2D0B01BFD}" presName="node" presStyleLbl="revTx" presStyleIdx="3" presStyleCnt="6" custAng="1871485">
        <dgm:presLayoutVars>
          <dgm:bulletEnabled val="1"/>
        </dgm:presLayoutVars>
      </dgm:prSet>
      <dgm:spPr/>
    </dgm:pt>
    <dgm:pt modelId="{09B41C92-EEA3-4A96-AD9A-C975886556BF}" type="pres">
      <dgm:prSet presAssocID="{1FCDA44E-4E8E-4518-AAC3-417C658662E6}" presName="sibTrans" presStyleLbl="node1" presStyleIdx="3" presStyleCnt="6"/>
      <dgm:spPr/>
    </dgm:pt>
    <dgm:pt modelId="{391C193E-C187-4DF1-B5DD-9308C7FD61C2}" type="pres">
      <dgm:prSet presAssocID="{2EB41750-2412-4FEE-819A-1CC32C2E4473}" presName="dummy" presStyleCnt="0"/>
      <dgm:spPr/>
    </dgm:pt>
    <dgm:pt modelId="{2FCB5BD5-C60D-4DB7-B94F-09E77B1D3D47}" type="pres">
      <dgm:prSet presAssocID="{2EB41750-2412-4FEE-819A-1CC32C2E4473}" presName="node" presStyleLbl="revTx" presStyleIdx="4" presStyleCnt="6" custAng="16200000">
        <dgm:presLayoutVars>
          <dgm:bulletEnabled val="1"/>
        </dgm:presLayoutVars>
      </dgm:prSet>
      <dgm:spPr/>
    </dgm:pt>
    <dgm:pt modelId="{F013E24C-1857-4DC7-B8FE-85266C01C990}" type="pres">
      <dgm:prSet presAssocID="{4EC90E7B-C2B5-4EB9-B6FF-03E822BC52E2}" presName="sibTrans" presStyleLbl="node1" presStyleIdx="4" presStyleCnt="6"/>
      <dgm:spPr/>
    </dgm:pt>
    <dgm:pt modelId="{32422A26-F414-4603-B939-F09A3BC3FA43}" type="pres">
      <dgm:prSet presAssocID="{264F0783-F97D-46E0-A62A-A00520EEDD2C}" presName="dummy" presStyleCnt="0"/>
      <dgm:spPr/>
    </dgm:pt>
    <dgm:pt modelId="{2248EC18-0661-4CC6-AC53-56ADBF012D46}" type="pres">
      <dgm:prSet presAssocID="{264F0783-F97D-46E0-A62A-A00520EEDD2C}" presName="node" presStyleLbl="revTx" presStyleIdx="5" presStyleCnt="6" custAng="19669881">
        <dgm:presLayoutVars>
          <dgm:bulletEnabled val="1"/>
        </dgm:presLayoutVars>
      </dgm:prSet>
      <dgm:spPr/>
    </dgm:pt>
    <dgm:pt modelId="{F28E5622-BB62-4E43-8830-9B210442395F}" type="pres">
      <dgm:prSet presAssocID="{814CAD1B-A379-4DAE-B0F1-CF5C5A9931F5}" presName="sibTrans" presStyleLbl="node1" presStyleIdx="5" presStyleCnt="6"/>
      <dgm:spPr/>
    </dgm:pt>
  </dgm:ptLst>
  <dgm:cxnLst>
    <dgm:cxn modelId="{4AE13909-AB60-4246-8B1F-50B29D204ECF}" type="presOf" srcId="{1FC11DDE-D4D3-49E6-8F76-51E61EED8B90}" destId="{ADE481A2-9CBA-49CA-A096-97E8F4EF82BF}" srcOrd="0" destOrd="0" presId="urn:microsoft.com/office/officeart/2005/8/layout/cycle1"/>
    <dgm:cxn modelId="{9482F712-6402-46E9-AC1D-4F516CDF817D}" type="presOf" srcId="{7AC481B3-2DC9-4F68-B0D8-04C6165B2F34}" destId="{5785EA4B-8A9C-436C-841A-EA8BC1BF4E40}" srcOrd="0" destOrd="0" presId="urn:microsoft.com/office/officeart/2005/8/layout/cycle1"/>
    <dgm:cxn modelId="{2321C022-1386-4375-B14F-4ECE79C25CFE}" srcId="{E97A4A71-843E-4CB5-AC3C-767CEFCDFD74}" destId="{264F0783-F97D-46E0-A62A-A00520EEDD2C}" srcOrd="5" destOrd="0" parTransId="{89E5EE7B-EAFE-409C-9060-CD5166416D88}" sibTransId="{814CAD1B-A379-4DAE-B0F1-CF5C5A9931F5}"/>
    <dgm:cxn modelId="{0B72925B-A5BF-48E2-9615-3EDFFF5F849C}" srcId="{E97A4A71-843E-4CB5-AC3C-767CEFCDFD74}" destId="{7AC481B3-2DC9-4F68-B0D8-04C6165B2F34}" srcOrd="0" destOrd="0" parTransId="{2F889463-630A-4679-876B-8D920A384B58}" sibTransId="{1FC11DDE-D4D3-49E6-8F76-51E61EED8B90}"/>
    <dgm:cxn modelId="{26B92E60-DAE0-4617-B062-43FFD8B7394F}" type="presOf" srcId="{814CAD1B-A379-4DAE-B0F1-CF5C5A9931F5}" destId="{F28E5622-BB62-4E43-8830-9B210442395F}" srcOrd="0" destOrd="0" presId="urn:microsoft.com/office/officeart/2005/8/layout/cycle1"/>
    <dgm:cxn modelId="{DA770C63-DA49-4275-929B-FA3F97597F59}" type="presOf" srcId="{FE417076-ECCC-4A0A-AAEB-36A270200113}" destId="{3EEA7C1D-EB23-44E0-A50A-340DA875F215}" srcOrd="0" destOrd="0" presId="urn:microsoft.com/office/officeart/2005/8/layout/cycle1"/>
    <dgm:cxn modelId="{EE7ACD64-6E02-4D0C-8CCC-642B17536B6E}" type="presOf" srcId="{B7399DCA-7C96-4356-B706-03F2D0B01BFD}" destId="{C481CD7B-6BCF-4D43-A099-3B0B43AF3A24}" srcOrd="0" destOrd="0" presId="urn:microsoft.com/office/officeart/2005/8/layout/cycle1"/>
    <dgm:cxn modelId="{665EE069-9D99-4AD4-8950-122004819EC0}" type="presOf" srcId="{2EB41750-2412-4FEE-819A-1CC32C2E4473}" destId="{2FCB5BD5-C60D-4DB7-B94F-09E77B1D3D47}" srcOrd="0" destOrd="0" presId="urn:microsoft.com/office/officeart/2005/8/layout/cycle1"/>
    <dgm:cxn modelId="{48DEF352-55A6-49F1-A92B-244E1C264C16}" type="presOf" srcId="{E97A4A71-843E-4CB5-AC3C-767CEFCDFD74}" destId="{AB7AFE48-F716-44EA-9DC2-045B3C08C60D}" srcOrd="0" destOrd="0" presId="urn:microsoft.com/office/officeart/2005/8/layout/cycle1"/>
    <dgm:cxn modelId="{BE8DE356-DB36-4C3C-8FB3-A01B89131BE9}" srcId="{E97A4A71-843E-4CB5-AC3C-767CEFCDFD74}" destId="{B7399DCA-7C96-4356-B706-03F2D0B01BFD}" srcOrd="3" destOrd="0" parTransId="{DB134204-9210-4BFD-BBA0-1784A2AB1CB8}" sibTransId="{1FCDA44E-4E8E-4518-AAC3-417C658662E6}"/>
    <dgm:cxn modelId="{95AAE08A-D997-4550-A2E1-A4CD9CD3BD2B}" type="presOf" srcId="{1FCDA44E-4E8E-4518-AAC3-417C658662E6}" destId="{09B41C92-EEA3-4A96-AD9A-C975886556BF}" srcOrd="0" destOrd="0" presId="urn:microsoft.com/office/officeart/2005/8/layout/cycle1"/>
    <dgm:cxn modelId="{4A4B1891-57C7-4F73-8696-A6E1FE982D36}" srcId="{E97A4A71-843E-4CB5-AC3C-767CEFCDFD74}" destId="{2EB41750-2412-4FEE-819A-1CC32C2E4473}" srcOrd="4" destOrd="0" parTransId="{CF642752-6991-47AD-909A-B06E30B55243}" sibTransId="{4EC90E7B-C2B5-4EB9-B6FF-03E822BC52E2}"/>
    <dgm:cxn modelId="{03E769A2-27C9-4C0F-857F-44B359D1B9B2}" type="presOf" srcId="{53459449-19F9-4647-AAB8-A3CE1A6D0B29}" destId="{2323EEE8-1CFE-48C8-A24B-C7DF1142D7E2}" srcOrd="0" destOrd="0" presId="urn:microsoft.com/office/officeart/2005/8/layout/cycle1"/>
    <dgm:cxn modelId="{082C32C3-62BA-418C-8E0F-AA3A0DEE294B}" type="presOf" srcId="{4EC90E7B-C2B5-4EB9-B6FF-03E822BC52E2}" destId="{F013E24C-1857-4DC7-B8FE-85266C01C990}" srcOrd="0" destOrd="0" presId="urn:microsoft.com/office/officeart/2005/8/layout/cycle1"/>
    <dgm:cxn modelId="{27A9E0C3-FB30-45FB-B437-8FE6572E6254}" type="presOf" srcId="{6059B5C9-E2B0-4217-9DB0-AD5B9BAFE1A8}" destId="{6E013AF6-7AC6-4DBA-8AEC-EF4B3FCAF2FA}" srcOrd="0" destOrd="0" presId="urn:microsoft.com/office/officeart/2005/8/layout/cycle1"/>
    <dgm:cxn modelId="{8C177CCC-98EC-4F79-8103-D32225EE9656}" type="presOf" srcId="{00E0B6D4-AA00-4608-B9B5-66C991917058}" destId="{1049EE93-6913-425E-BFA6-B52342DE2BC8}" srcOrd="0" destOrd="0" presId="urn:microsoft.com/office/officeart/2005/8/layout/cycle1"/>
    <dgm:cxn modelId="{C3B98ED4-21F0-4517-A2AF-D7D27F6FF6DC}" srcId="{E97A4A71-843E-4CB5-AC3C-767CEFCDFD74}" destId="{FE417076-ECCC-4A0A-AAEB-36A270200113}" srcOrd="1" destOrd="0" parTransId="{FCE7B2B8-79F0-47C8-90C7-4895ECC82A93}" sibTransId="{6059B5C9-E2B0-4217-9DB0-AD5B9BAFE1A8}"/>
    <dgm:cxn modelId="{1FAE7FEB-0E76-45EB-92E4-4609599B11E7}" srcId="{E97A4A71-843E-4CB5-AC3C-767CEFCDFD74}" destId="{53459449-19F9-4647-AAB8-A3CE1A6D0B29}" srcOrd="2" destOrd="0" parTransId="{C88FBE97-1061-4DA4-A854-4F4BB6FCB7C4}" sibTransId="{00E0B6D4-AA00-4608-B9B5-66C991917058}"/>
    <dgm:cxn modelId="{D4B669F3-BEDF-4731-9E7B-D2B55B13394A}" type="presOf" srcId="{264F0783-F97D-46E0-A62A-A00520EEDD2C}" destId="{2248EC18-0661-4CC6-AC53-56ADBF012D46}" srcOrd="0" destOrd="0" presId="urn:microsoft.com/office/officeart/2005/8/layout/cycle1"/>
    <dgm:cxn modelId="{FC160E49-ADE3-47C6-8064-DF2EF180133A}" type="presParOf" srcId="{AB7AFE48-F716-44EA-9DC2-045B3C08C60D}" destId="{7945C966-A53D-4925-BDC7-03AEAF6D976F}" srcOrd="0" destOrd="0" presId="urn:microsoft.com/office/officeart/2005/8/layout/cycle1"/>
    <dgm:cxn modelId="{241FCA2C-0105-44CB-A7C0-EE1E17966D4D}" type="presParOf" srcId="{AB7AFE48-F716-44EA-9DC2-045B3C08C60D}" destId="{5785EA4B-8A9C-436C-841A-EA8BC1BF4E40}" srcOrd="1" destOrd="0" presId="urn:microsoft.com/office/officeart/2005/8/layout/cycle1"/>
    <dgm:cxn modelId="{FABBF617-8012-4F56-95E2-B809B78A9C79}" type="presParOf" srcId="{AB7AFE48-F716-44EA-9DC2-045B3C08C60D}" destId="{ADE481A2-9CBA-49CA-A096-97E8F4EF82BF}" srcOrd="2" destOrd="0" presId="urn:microsoft.com/office/officeart/2005/8/layout/cycle1"/>
    <dgm:cxn modelId="{3FF9745D-96B0-464C-BB19-A872B3D08A95}" type="presParOf" srcId="{AB7AFE48-F716-44EA-9DC2-045B3C08C60D}" destId="{B034D1C4-2377-4604-86F9-B094749D1525}" srcOrd="3" destOrd="0" presId="urn:microsoft.com/office/officeart/2005/8/layout/cycle1"/>
    <dgm:cxn modelId="{EDAD05BF-9698-43FB-B351-5E07B1A3FD01}" type="presParOf" srcId="{AB7AFE48-F716-44EA-9DC2-045B3C08C60D}" destId="{3EEA7C1D-EB23-44E0-A50A-340DA875F215}" srcOrd="4" destOrd="0" presId="urn:microsoft.com/office/officeart/2005/8/layout/cycle1"/>
    <dgm:cxn modelId="{1ADE9333-656D-48BF-A04D-02026FF7D299}" type="presParOf" srcId="{AB7AFE48-F716-44EA-9DC2-045B3C08C60D}" destId="{6E013AF6-7AC6-4DBA-8AEC-EF4B3FCAF2FA}" srcOrd="5" destOrd="0" presId="urn:microsoft.com/office/officeart/2005/8/layout/cycle1"/>
    <dgm:cxn modelId="{2CAB99CB-9880-477E-9B0C-56E798C58031}" type="presParOf" srcId="{AB7AFE48-F716-44EA-9DC2-045B3C08C60D}" destId="{228A6C53-6B4F-4553-8CB0-5A0E985EF43C}" srcOrd="6" destOrd="0" presId="urn:microsoft.com/office/officeart/2005/8/layout/cycle1"/>
    <dgm:cxn modelId="{74C15601-F963-4576-BF7C-45C2F82BD075}" type="presParOf" srcId="{AB7AFE48-F716-44EA-9DC2-045B3C08C60D}" destId="{2323EEE8-1CFE-48C8-A24B-C7DF1142D7E2}" srcOrd="7" destOrd="0" presId="urn:microsoft.com/office/officeart/2005/8/layout/cycle1"/>
    <dgm:cxn modelId="{D381B502-EBC7-46B3-97CD-55429907CE52}" type="presParOf" srcId="{AB7AFE48-F716-44EA-9DC2-045B3C08C60D}" destId="{1049EE93-6913-425E-BFA6-B52342DE2BC8}" srcOrd="8" destOrd="0" presId="urn:microsoft.com/office/officeart/2005/8/layout/cycle1"/>
    <dgm:cxn modelId="{1A584800-131D-43CA-8AAC-D6BF47E871D4}" type="presParOf" srcId="{AB7AFE48-F716-44EA-9DC2-045B3C08C60D}" destId="{9C333F2E-49E8-4938-981B-EC7C528A0AB0}" srcOrd="9" destOrd="0" presId="urn:microsoft.com/office/officeart/2005/8/layout/cycle1"/>
    <dgm:cxn modelId="{D01DA97D-BBA7-4BA6-BF36-3268BF1264E2}" type="presParOf" srcId="{AB7AFE48-F716-44EA-9DC2-045B3C08C60D}" destId="{C481CD7B-6BCF-4D43-A099-3B0B43AF3A24}" srcOrd="10" destOrd="0" presId="urn:microsoft.com/office/officeart/2005/8/layout/cycle1"/>
    <dgm:cxn modelId="{F018B30B-E368-4472-9922-650F54386C44}" type="presParOf" srcId="{AB7AFE48-F716-44EA-9DC2-045B3C08C60D}" destId="{09B41C92-EEA3-4A96-AD9A-C975886556BF}" srcOrd="11" destOrd="0" presId="urn:microsoft.com/office/officeart/2005/8/layout/cycle1"/>
    <dgm:cxn modelId="{FFF2CD43-8D5E-4441-9376-3A7873028F75}" type="presParOf" srcId="{AB7AFE48-F716-44EA-9DC2-045B3C08C60D}" destId="{391C193E-C187-4DF1-B5DD-9308C7FD61C2}" srcOrd="12" destOrd="0" presId="urn:microsoft.com/office/officeart/2005/8/layout/cycle1"/>
    <dgm:cxn modelId="{0EF8FEB9-16EE-431A-BDBD-EEF82578957F}" type="presParOf" srcId="{AB7AFE48-F716-44EA-9DC2-045B3C08C60D}" destId="{2FCB5BD5-C60D-4DB7-B94F-09E77B1D3D47}" srcOrd="13" destOrd="0" presId="urn:microsoft.com/office/officeart/2005/8/layout/cycle1"/>
    <dgm:cxn modelId="{5730C504-6EF4-427C-8BD2-BC973E5D4769}" type="presParOf" srcId="{AB7AFE48-F716-44EA-9DC2-045B3C08C60D}" destId="{F013E24C-1857-4DC7-B8FE-85266C01C990}" srcOrd="14" destOrd="0" presId="urn:microsoft.com/office/officeart/2005/8/layout/cycle1"/>
    <dgm:cxn modelId="{2B76FB5A-A431-4DA2-9B93-4324B669AF6F}" type="presParOf" srcId="{AB7AFE48-F716-44EA-9DC2-045B3C08C60D}" destId="{32422A26-F414-4603-B939-F09A3BC3FA43}" srcOrd="15" destOrd="0" presId="urn:microsoft.com/office/officeart/2005/8/layout/cycle1"/>
    <dgm:cxn modelId="{BBEDA19E-C5B9-450C-A8F7-A23A7B43296F}" type="presParOf" srcId="{AB7AFE48-F716-44EA-9DC2-045B3C08C60D}" destId="{2248EC18-0661-4CC6-AC53-56ADBF012D46}" srcOrd="16" destOrd="0" presId="urn:microsoft.com/office/officeart/2005/8/layout/cycle1"/>
    <dgm:cxn modelId="{87849A47-BE9E-4F5C-9D47-842F83A2C351}" type="presParOf" srcId="{AB7AFE48-F716-44EA-9DC2-045B3C08C60D}" destId="{F28E5622-BB62-4E43-8830-9B210442395F}" srcOrd="17" destOrd="0" presId="urn:microsoft.com/office/officeart/2005/8/layout/cycle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E4C978-A1D3-4930-A17A-B5C2736FC90F}" type="doc">
      <dgm:prSet loTypeId="urn:microsoft.com/office/officeart/2005/8/layout/cycle8" loCatId="cycle" qsTypeId="urn:microsoft.com/office/officeart/2005/8/quickstyle/simple1" qsCatId="simple" csTypeId="urn:microsoft.com/office/officeart/2005/8/colors/accent1_2" csCatId="accent1" phldr="1"/>
      <dgm:spPr/>
    </dgm:pt>
    <dgm:pt modelId="{584BBEB1-81DD-4552-9722-164BFD9D02B7}">
      <dgm:prSet phldrT="[Metin]" custT="1"/>
      <dgm:spPr>
        <a:xfrm>
          <a:off x="663653" y="302021"/>
          <a:ext cx="2762774" cy="2762774"/>
        </a:xfrm>
        <a:prstGeom prst="pie">
          <a:avLst>
            <a:gd name="adj1" fmla="val 5400000"/>
            <a:gd name="adj2" fmla="val 90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tr-TR" sz="800" b="1">
              <a:solidFill>
                <a:sysClr val="window" lastClr="FFFFFF"/>
              </a:solidFill>
              <a:latin typeface="Calibri" panose="020F0502020204030204"/>
              <a:ea typeface="+mn-ea"/>
              <a:cs typeface="+mn-cs"/>
            </a:rPr>
            <a:t>Varlık Girdisi (Asset input)</a:t>
          </a:r>
        </a:p>
      </dgm:t>
    </dgm:pt>
    <dgm:pt modelId="{DE10EF23-EB0F-434C-B9C9-08554F637385}" type="parTrans" cxnId="{44EB7641-C24B-4B8E-9435-84582DF6BD65}">
      <dgm:prSet/>
      <dgm:spPr/>
      <dgm:t>
        <a:bodyPr/>
        <a:lstStyle/>
        <a:p>
          <a:endParaRPr lang="tr-TR" sz="1800" b="1"/>
        </a:p>
      </dgm:t>
    </dgm:pt>
    <dgm:pt modelId="{DF3A515A-9EFA-4E0B-9FDB-E8C20EDEDA78}" type="sibTrans" cxnId="{44EB7641-C24B-4B8E-9435-84582DF6BD65}">
      <dgm:prSet/>
      <dgm:spPr/>
      <dgm:t>
        <a:bodyPr/>
        <a:lstStyle/>
        <a:p>
          <a:endParaRPr lang="tr-TR" sz="1800" b="1"/>
        </a:p>
      </dgm:t>
    </dgm:pt>
    <dgm:pt modelId="{F1B6D8FB-946E-4398-A01E-0BC75391674A}">
      <dgm:prSet phldrT="[Metin]" custT="1"/>
      <dgm:spPr>
        <a:xfrm>
          <a:off x="729433" y="302021"/>
          <a:ext cx="2762774" cy="2762774"/>
        </a:xfrm>
        <a:prstGeom prst="pie">
          <a:avLst>
            <a:gd name="adj1" fmla="val 1800000"/>
            <a:gd name="adj2" fmla="val 54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tr-TR" sz="800" b="1">
              <a:solidFill>
                <a:sysClr val="window" lastClr="FFFFFF"/>
              </a:solidFill>
              <a:latin typeface="Calibri" panose="020F0502020204030204"/>
              <a:ea typeface="+mn-ea"/>
              <a:cs typeface="+mn-cs"/>
            </a:rPr>
            <a:t>Maliyet (Cost)</a:t>
          </a:r>
        </a:p>
      </dgm:t>
    </dgm:pt>
    <dgm:pt modelId="{EF3CCFC5-49ED-4AC1-A690-B2AB3DAD7BD5}" type="parTrans" cxnId="{C18DBC50-C02D-4EDB-9212-7D4EC7FE1655}">
      <dgm:prSet/>
      <dgm:spPr/>
      <dgm:t>
        <a:bodyPr/>
        <a:lstStyle/>
        <a:p>
          <a:endParaRPr lang="tr-TR" sz="1800" b="1"/>
        </a:p>
      </dgm:t>
    </dgm:pt>
    <dgm:pt modelId="{C2AAFB0A-D946-492A-9931-149734B009BF}" type="sibTrans" cxnId="{C18DBC50-C02D-4EDB-9212-7D4EC7FE1655}">
      <dgm:prSet/>
      <dgm:spPr/>
      <dgm:t>
        <a:bodyPr/>
        <a:lstStyle/>
        <a:p>
          <a:endParaRPr lang="tr-TR" sz="1800" b="1"/>
        </a:p>
      </dgm:t>
    </dgm:pt>
    <dgm:pt modelId="{F388EC91-2237-4BE8-9DC2-3C81A36D0E6A}">
      <dgm:prSet phldrT="[Metin]" custT="1"/>
      <dgm:spPr>
        <a:xfrm>
          <a:off x="762323" y="245121"/>
          <a:ext cx="2762774" cy="2762774"/>
        </a:xfrm>
        <a:prstGeom prst="pie">
          <a:avLst>
            <a:gd name="adj1" fmla="val 19800000"/>
            <a:gd name="adj2" fmla="val 18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tr-TR" sz="800" b="1">
              <a:solidFill>
                <a:sysClr val="window" lastClr="FFFFFF"/>
              </a:solidFill>
              <a:latin typeface="Calibri" panose="020F0502020204030204"/>
              <a:ea typeface="+mn-ea"/>
              <a:cs typeface="+mn-cs"/>
            </a:rPr>
            <a:t>Varlık Çıktısı (Asset output)</a:t>
          </a:r>
        </a:p>
      </dgm:t>
    </dgm:pt>
    <dgm:pt modelId="{A0E6EA11-DA19-44B4-AA70-DBD7AF82068B}" type="parTrans" cxnId="{C27533EF-3C82-41AF-BAA6-B2E1D15E627C}">
      <dgm:prSet/>
      <dgm:spPr/>
      <dgm:t>
        <a:bodyPr/>
        <a:lstStyle/>
        <a:p>
          <a:endParaRPr lang="tr-TR" sz="1800" b="1"/>
        </a:p>
      </dgm:t>
    </dgm:pt>
    <dgm:pt modelId="{57F1537A-80CB-498A-A20C-912CB637C614}" type="sibTrans" cxnId="{C27533EF-3C82-41AF-BAA6-B2E1D15E627C}">
      <dgm:prSet/>
      <dgm:spPr/>
      <dgm:t>
        <a:bodyPr/>
        <a:lstStyle/>
        <a:p>
          <a:endParaRPr lang="tr-TR" sz="1800" b="1"/>
        </a:p>
      </dgm:t>
    </dgm:pt>
    <dgm:pt modelId="{BF839C99-4BA4-41C4-9F7F-4FB96810FF19}">
      <dgm:prSet phldrT="[Metin]" custT="1"/>
      <dgm:spPr>
        <a:xfrm>
          <a:off x="729433" y="188221"/>
          <a:ext cx="2762774" cy="2762774"/>
        </a:xfrm>
        <a:prstGeom prst="pie">
          <a:avLst>
            <a:gd name="adj1" fmla="val 16200000"/>
            <a:gd name="adj2" fmla="val 198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tr-TR" sz="700" b="1" dirty="0">
              <a:solidFill>
                <a:sysClr val="window" lastClr="FFFFFF"/>
              </a:solidFill>
              <a:latin typeface="Calibri" panose="020F0502020204030204"/>
              <a:ea typeface="+mn-ea"/>
              <a:cs typeface="+mn-cs"/>
            </a:rPr>
            <a:t>Uyumluluk ve Bütünlük (</a:t>
          </a:r>
          <a:r>
            <a:rPr lang="tr-TR" sz="700" b="1" dirty="0" err="1">
              <a:solidFill>
                <a:sysClr val="window" lastClr="FFFFFF"/>
              </a:solidFill>
              <a:latin typeface="Calibri" panose="020F0502020204030204"/>
              <a:ea typeface="+mn-ea"/>
              <a:cs typeface="+mn-cs"/>
            </a:rPr>
            <a:t>Compliance</a:t>
          </a:r>
          <a:r>
            <a:rPr lang="tr-TR" sz="700" b="1" dirty="0">
              <a:solidFill>
                <a:sysClr val="window" lastClr="FFFFFF"/>
              </a:solidFill>
              <a:latin typeface="Calibri" panose="020F0502020204030204"/>
              <a:ea typeface="+mn-ea"/>
              <a:cs typeface="+mn-cs"/>
            </a:rPr>
            <a:t> </a:t>
          </a:r>
          <a:r>
            <a:rPr lang="tr-TR" sz="700" b="1" dirty="0" err="1">
              <a:solidFill>
                <a:sysClr val="window" lastClr="FFFFFF"/>
              </a:solidFill>
              <a:latin typeface="Calibri" panose="020F0502020204030204"/>
              <a:ea typeface="+mn-ea"/>
              <a:cs typeface="+mn-cs"/>
            </a:rPr>
            <a:t>and</a:t>
          </a:r>
          <a:r>
            <a:rPr lang="tr-TR" sz="700" b="1" dirty="0">
              <a:solidFill>
                <a:sysClr val="window" lastClr="FFFFFF"/>
              </a:solidFill>
              <a:latin typeface="Calibri" panose="020F0502020204030204"/>
              <a:ea typeface="+mn-ea"/>
              <a:cs typeface="+mn-cs"/>
            </a:rPr>
            <a:t> </a:t>
          </a:r>
          <a:r>
            <a:rPr lang="tr-TR" sz="700" b="1" dirty="0" err="1">
              <a:solidFill>
                <a:sysClr val="window" lastClr="FFFFFF"/>
              </a:solidFill>
              <a:latin typeface="Calibri" panose="020F0502020204030204"/>
              <a:ea typeface="+mn-ea"/>
              <a:cs typeface="+mn-cs"/>
            </a:rPr>
            <a:t>Integrity</a:t>
          </a:r>
          <a:r>
            <a:rPr lang="tr-TR" sz="700" b="1" dirty="0">
              <a:solidFill>
                <a:sysClr val="window" lastClr="FFFFFF"/>
              </a:solidFill>
              <a:latin typeface="Calibri" panose="020F0502020204030204"/>
              <a:ea typeface="+mn-ea"/>
              <a:cs typeface="+mn-cs"/>
            </a:rPr>
            <a:t>)</a:t>
          </a:r>
        </a:p>
      </dgm:t>
    </dgm:pt>
    <dgm:pt modelId="{D6DDF6FC-80E6-47A6-BE75-A716BC9896BB}" type="parTrans" cxnId="{05B3F474-7C2B-4EBB-84A2-B0C4E1EED371}">
      <dgm:prSet/>
      <dgm:spPr/>
      <dgm:t>
        <a:bodyPr/>
        <a:lstStyle/>
        <a:p>
          <a:endParaRPr lang="tr-TR" sz="1800" b="1"/>
        </a:p>
      </dgm:t>
    </dgm:pt>
    <dgm:pt modelId="{DE223D18-7310-4A9B-A3E3-CFB7D5F1722D}" type="sibTrans" cxnId="{05B3F474-7C2B-4EBB-84A2-B0C4E1EED371}">
      <dgm:prSet/>
      <dgm:spPr/>
      <dgm:t>
        <a:bodyPr/>
        <a:lstStyle/>
        <a:p>
          <a:endParaRPr lang="tr-TR" sz="1800" b="1"/>
        </a:p>
      </dgm:t>
    </dgm:pt>
    <dgm:pt modelId="{A40B28D2-F25C-43D6-9B81-D05E881DFC01}">
      <dgm:prSet phldrT="[Metin]" custT="1"/>
      <dgm:spPr>
        <a:xfrm>
          <a:off x="663653" y="188221"/>
          <a:ext cx="2762774" cy="2762774"/>
        </a:xfrm>
        <a:prstGeom prst="pie">
          <a:avLst>
            <a:gd name="adj1" fmla="val 12600000"/>
            <a:gd name="adj2" fmla="val 162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tr-TR" sz="800" b="1" dirty="0" err="1">
              <a:solidFill>
                <a:sysClr val="window" lastClr="FFFFFF"/>
              </a:solidFill>
              <a:latin typeface="Calibri" panose="020F0502020204030204"/>
              <a:ea typeface="+mn-ea"/>
              <a:cs typeface="+mn-cs"/>
            </a:rPr>
            <a:t>İnovasyon</a:t>
          </a:r>
          <a:r>
            <a:rPr lang="tr-TR" sz="800" b="1" dirty="0">
              <a:solidFill>
                <a:sysClr val="window" lastClr="FFFFFF"/>
              </a:solidFill>
              <a:latin typeface="Calibri" panose="020F0502020204030204"/>
              <a:ea typeface="+mn-ea"/>
              <a:cs typeface="+mn-cs"/>
            </a:rPr>
            <a:t> ve İyileştirme</a:t>
          </a:r>
        </a:p>
      </dgm:t>
    </dgm:pt>
    <dgm:pt modelId="{61D7E22E-AA38-4C1A-907D-BB8FD61FC3AD}" type="parTrans" cxnId="{C09149D3-CC6C-46FE-B904-4C3B3D51F2E7}">
      <dgm:prSet/>
      <dgm:spPr/>
      <dgm:t>
        <a:bodyPr/>
        <a:lstStyle/>
        <a:p>
          <a:endParaRPr lang="tr-TR" sz="1800" b="1"/>
        </a:p>
      </dgm:t>
    </dgm:pt>
    <dgm:pt modelId="{14DD7FFE-4A12-486C-BA69-54C3FD989314}" type="sibTrans" cxnId="{C09149D3-CC6C-46FE-B904-4C3B3D51F2E7}">
      <dgm:prSet/>
      <dgm:spPr/>
      <dgm:t>
        <a:bodyPr/>
        <a:lstStyle/>
        <a:p>
          <a:endParaRPr lang="tr-TR" sz="1800" b="1"/>
        </a:p>
      </dgm:t>
    </dgm:pt>
    <dgm:pt modelId="{E067D905-6F79-41DB-BA6B-44A833E5444B}">
      <dgm:prSet phldrT="[Metin]" custT="1"/>
      <dgm:spPr>
        <a:xfrm>
          <a:off x="630763" y="245121"/>
          <a:ext cx="2762774" cy="2762774"/>
        </a:xfrm>
        <a:prstGeom prst="pie">
          <a:avLst>
            <a:gd name="adj1" fmla="val 9000000"/>
            <a:gd name="adj2" fmla="val 126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tr-TR" sz="800" b="1">
              <a:solidFill>
                <a:sysClr val="window" lastClr="FFFFFF"/>
              </a:solidFill>
              <a:latin typeface="Calibri" panose="020F0502020204030204"/>
              <a:ea typeface="+mn-ea"/>
              <a:cs typeface="+mn-cs"/>
            </a:rPr>
            <a:t>Varlık yaşam Döngüsü</a:t>
          </a:r>
        </a:p>
      </dgm:t>
    </dgm:pt>
    <dgm:pt modelId="{C6E25619-4DAD-4D28-9434-C631ED54F22D}" type="parTrans" cxnId="{5BB32AC3-AF43-4DC9-A3EA-D4D89F57D8BA}">
      <dgm:prSet/>
      <dgm:spPr/>
      <dgm:t>
        <a:bodyPr/>
        <a:lstStyle/>
        <a:p>
          <a:endParaRPr lang="tr-TR" sz="1800" b="1"/>
        </a:p>
      </dgm:t>
    </dgm:pt>
    <dgm:pt modelId="{8E9691DC-6ECF-4AA5-879E-5DEA4A1825FC}" type="sibTrans" cxnId="{5BB32AC3-AF43-4DC9-A3EA-D4D89F57D8BA}">
      <dgm:prSet/>
      <dgm:spPr/>
      <dgm:t>
        <a:bodyPr/>
        <a:lstStyle/>
        <a:p>
          <a:endParaRPr lang="tr-TR" sz="1800" b="1"/>
        </a:p>
      </dgm:t>
    </dgm:pt>
    <dgm:pt modelId="{3EEEE85E-76C8-4B8E-9977-B2BF0BCD1BC2}" type="pres">
      <dgm:prSet presAssocID="{78E4C978-A1D3-4930-A17A-B5C2736FC90F}" presName="compositeShape" presStyleCnt="0">
        <dgm:presLayoutVars>
          <dgm:chMax val="7"/>
          <dgm:dir/>
          <dgm:resizeHandles val="exact"/>
        </dgm:presLayoutVars>
      </dgm:prSet>
      <dgm:spPr/>
    </dgm:pt>
    <dgm:pt modelId="{5E6865DB-A1D8-4B36-B2BD-20A6088C401F}" type="pres">
      <dgm:prSet presAssocID="{78E4C978-A1D3-4930-A17A-B5C2736FC90F}" presName="wedge1" presStyleLbl="node1" presStyleIdx="0" presStyleCnt="6"/>
      <dgm:spPr/>
    </dgm:pt>
    <dgm:pt modelId="{C0D297FE-528D-49CC-8D2A-80B08A1F3E1A}" type="pres">
      <dgm:prSet presAssocID="{78E4C978-A1D3-4930-A17A-B5C2736FC90F}" presName="dummy1a" presStyleCnt="0"/>
      <dgm:spPr/>
    </dgm:pt>
    <dgm:pt modelId="{2D2DA996-B6C5-4951-8F61-1C8DEBA11B7E}" type="pres">
      <dgm:prSet presAssocID="{78E4C978-A1D3-4930-A17A-B5C2736FC90F}" presName="dummy1b" presStyleCnt="0"/>
      <dgm:spPr/>
    </dgm:pt>
    <dgm:pt modelId="{93527812-07E1-45B6-B92F-091061A7B726}" type="pres">
      <dgm:prSet presAssocID="{78E4C978-A1D3-4930-A17A-B5C2736FC90F}" presName="wedge1Tx" presStyleLbl="node1" presStyleIdx="0" presStyleCnt="6">
        <dgm:presLayoutVars>
          <dgm:chMax val="0"/>
          <dgm:chPref val="0"/>
          <dgm:bulletEnabled val="1"/>
        </dgm:presLayoutVars>
      </dgm:prSet>
      <dgm:spPr/>
    </dgm:pt>
    <dgm:pt modelId="{1011F591-0B8D-4D58-A388-F5B5E4F5871A}" type="pres">
      <dgm:prSet presAssocID="{78E4C978-A1D3-4930-A17A-B5C2736FC90F}" presName="wedge2" presStyleLbl="node1" presStyleIdx="1" presStyleCnt="6"/>
      <dgm:spPr/>
    </dgm:pt>
    <dgm:pt modelId="{BF3154EF-BF82-4D85-9277-46C4500ED899}" type="pres">
      <dgm:prSet presAssocID="{78E4C978-A1D3-4930-A17A-B5C2736FC90F}" presName="dummy2a" presStyleCnt="0"/>
      <dgm:spPr/>
    </dgm:pt>
    <dgm:pt modelId="{80BC739C-FE7A-4E01-A73A-9F6AE855205F}" type="pres">
      <dgm:prSet presAssocID="{78E4C978-A1D3-4930-A17A-B5C2736FC90F}" presName="dummy2b" presStyleCnt="0"/>
      <dgm:spPr/>
    </dgm:pt>
    <dgm:pt modelId="{A335ED39-07EF-484D-A389-8F0467D705E5}" type="pres">
      <dgm:prSet presAssocID="{78E4C978-A1D3-4930-A17A-B5C2736FC90F}" presName="wedge2Tx" presStyleLbl="node1" presStyleIdx="1" presStyleCnt="6">
        <dgm:presLayoutVars>
          <dgm:chMax val="0"/>
          <dgm:chPref val="0"/>
          <dgm:bulletEnabled val="1"/>
        </dgm:presLayoutVars>
      </dgm:prSet>
      <dgm:spPr/>
    </dgm:pt>
    <dgm:pt modelId="{1813160A-07B0-4E09-B498-962F085E245B}" type="pres">
      <dgm:prSet presAssocID="{78E4C978-A1D3-4930-A17A-B5C2736FC90F}" presName="wedge3" presStyleLbl="node1" presStyleIdx="2" presStyleCnt="6"/>
      <dgm:spPr/>
    </dgm:pt>
    <dgm:pt modelId="{F678187D-A6C5-4337-8970-85892C014507}" type="pres">
      <dgm:prSet presAssocID="{78E4C978-A1D3-4930-A17A-B5C2736FC90F}" presName="dummy3a" presStyleCnt="0"/>
      <dgm:spPr/>
    </dgm:pt>
    <dgm:pt modelId="{63D0495F-4A54-4DF6-B25A-3999BD6BF53D}" type="pres">
      <dgm:prSet presAssocID="{78E4C978-A1D3-4930-A17A-B5C2736FC90F}" presName="dummy3b" presStyleCnt="0"/>
      <dgm:spPr/>
    </dgm:pt>
    <dgm:pt modelId="{916B9AD5-09A9-4585-9580-2587D30F3589}" type="pres">
      <dgm:prSet presAssocID="{78E4C978-A1D3-4930-A17A-B5C2736FC90F}" presName="wedge3Tx" presStyleLbl="node1" presStyleIdx="2" presStyleCnt="6">
        <dgm:presLayoutVars>
          <dgm:chMax val="0"/>
          <dgm:chPref val="0"/>
          <dgm:bulletEnabled val="1"/>
        </dgm:presLayoutVars>
      </dgm:prSet>
      <dgm:spPr/>
    </dgm:pt>
    <dgm:pt modelId="{9195F98F-C504-412F-ABD3-3E68E6D44219}" type="pres">
      <dgm:prSet presAssocID="{78E4C978-A1D3-4930-A17A-B5C2736FC90F}" presName="wedge4" presStyleLbl="node1" presStyleIdx="3" presStyleCnt="6"/>
      <dgm:spPr/>
    </dgm:pt>
    <dgm:pt modelId="{75E73F62-4B22-41BF-921A-CF909FF2D8A3}" type="pres">
      <dgm:prSet presAssocID="{78E4C978-A1D3-4930-A17A-B5C2736FC90F}" presName="dummy4a" presStyleCnt="0"/>
      <dgm:spPr/>
    </dgm:pt>
    <dgm:pt modelId="{48D0F9C4-ED3C-45DD-81DD-13303EC91E77}" type="pres">
      <dgm:prSet presAssocID="{78E4C978-A1D3-4930-A17A-B5C2736FC90F}" presName="dummy4b" presStyleCnt="0"/>
      <dgm:spPr/>
    </dgm:pt>
    <dgm:pt modelId="{47EC9A3F-0539-49B5-A12C-6954EA4F9FA1}" type="pres">
      <dgm:prSet presAssocID="{78E4C978-A1D3-4930-A17A-B5C2736FC90F}" presName="wedge4Tx" presStyleLbl="node1" presStyleIdx="3" presStyleCnt="6">
        <dgm:presLayoutVars>
          <dgm:chMax val="0"/>
          <dgm:chPref val="0"/>
          <dgm:bulletEnabled val="1"/>
        </dgm:presLayoutVars>
      </dgm:prSet>
      <dgm:spPr/>
    </dgm:pt>
    <dgm:pt modelId="{8FD70192-FCA8-4474-BEAA-9A77238E8C22}" type="pres">
      <dgm:prSet presAssocID="{78E4C978-A1D3-4930-A17A-B5C2736FC90F}" presName="wedge5" presStyleLbl="node1" presStyleIdx="4" presStyleCnt="6"/>
      <dgm:spPr/>
    </dgm:pt>
    <dgm:pt modelId="{71F38C2F-CCFA-4762-8C8B-4CC2134EA5FE}" type="pres">
      <dgm:prSet presAssocID="{78E4C978-A1D3-4930-A17A-B5C2736FC90F}" presName="dummy5a" presStyleCnt="0"/>
      <dgm:spPr/>
    </dgm:pt>
    <dgm:pt modelId="{025D3D34-3C0E-48AD-9AAF-DC3465DADBF4}" type="pres">
      <dgm:prSet presAssocID="{78E4C978-A1D3-4930-A17A-B5C2736FC90F}" presName="dummy5b" presStyleCnt="0"/>
      <dgm:spPr/>
    </dgm:pt>
    <dgm:pt modelId="{538CF2B3-54E9-4B71-8DBF-D249BFBBEB37}" type="pres">
      <dgm:prSet presAssocID="{78E4C978-A1D3-4930-A17A-B5C2736FC90F}" presName="wedge5Tx" presStyleLbl="node1" presStyleIdx="4" presStyleCnt="6">
        <dgm:presLayoutVars>
          <dgm:chMax val="0"/>
          <dgm:chPref val="0"/>
          <dgm:bulletEnabled val="1"/>
        </dgm:presLayoutVars>
      </dgm:prSet>
      <dgm:spPr/>
    </dgm:pt>
    <dgm:pt modelId="{674C9EFD-04BC-477C-ADA3-62D09C4F559E}" type="pres">
      <dgm:prSet presAssocID="{78E4C978-A1D3-4930-A17A-B5C2736FC90F}" presName="wedge6" presStyleLbl="node1" presStyleIdx="5" presStyleCnt="6"/>
      <dgm:spPr/>
    </dgm:pt>
    <dgm:pt modelId="{A20D91FD-5DEC-4138-947E-0828870EC06A}" type="pres">
      <dgm:prSet presAssocID="{78E4C978-A1D3-4930-A17A-B5C2736FC90F}" presName="dummy6a" presStyleCnt="0"/>
      <dgm:spPr/>
    </dgm:pt>
    <dgm:pt modelId="{42D790EC-1FF8-4A38-8E6E-91570DC34E6A}" type="pres">
      <dgm:prSet presAssocID="{78E4C978-A1D3-4930-A17A-B5C2736FC90F}" presName="dummy6b" presStyleCnt="0"/>
      <dgm:spPr/>
    </dgm:pt>
    <dgm:pt modelId="{E4CEA1DB-5EBB-4FC2-A5BA-F86C12589B9C}" type="pres">
      <dgm:prSet presAssocID="{78E4C978-A1D3-4930-A17A-B5C2736FC90F}" presName="wedge6Tx" presStyleLbl="node1" presStyleIdx="5" presStyleCnt="6">
        <dgm:presLayoutVars>
          <dgm:chMax val="0"/>
          <dgm:chPref val="0"/>
          <dgm:bulletEnabled val="1"/>
        </dgm:presLayoutVars>
      </dgm:prSet>
      <dgm:spPr/>
    </dgm:pt>
    <dgm:pt modelId="{7D05639B-CC6F-45D5-B3F6-E1EC1BDECE17}" type="pres">
      <dgm:prSet presAssocID="{DE223D18-7310-4A9B-A3E3-CFB7D5F1722D}" presName="arrowWedge1" presStyleLbl="fgSibTrans2D1" presStyleIdx="0" presStyleCnt="6"/>
      <dgm:spPr>
        <a:xfrm>
          <a:off x="558303" y="17192"/>
          <a:ext cx="3104832" cy="3104832"/>
        </a:xfrm>
        <a:prstGeom prst="circularArrow">
          <a:avLst>
            <a:gd name="adj1" fmla="val 5085"/>
            <a:gd name="adj2" fmla="val 327528"/>
            <a:gd name="adj3" fmla="val 19472472"/>
            <a:gd name="adj4" fmla="val 16200251"/>
            <a:gd name="adj5" fmla="val 5932"/>
          </a:avLst>
        </a:prstGeom>
        <a:solidFill>
          <a:srgbClr val="5B9BD5">
            <a:tint val="60000"/>
            <a:hueOff val="0"/>
            <a:satOff val="0"/>
            <a:lumOff val="0"/>
            <a:alphaOff val="0"/>
          </a:srgbClr>
        </a:solidFill>
        <a:ln>
          <a:noFill/>
        </a:ln>
        <a:effectLst/>
      </dgm:spPr>
    </dgm:pt>
    <dgm:pt modelId="{45AD6318-E5B0-43B1-A1F0-3534026C21A0}" type="pres">
      <dgm:prSet presAssocID="{57F1537A-80CB-498A-A20C-912CB637C614}" presName="arrowWedge2" presStyleLbl="fgSibTrans2D1" presStyleIdx="1" presStyleCnt="6"/>
      <dgm:spPr>
        <a:xfrm>
          <a:off x="591193" y="74092"/>
          <a:ext cx="3104832" cy="3104832"/>
        </a:xfrm>
        <a:prstGeom prst="circularArrow">
          <a:avLst>
            <a:gd name="adj1" fmla="val 5085"/>
            <a:gd name="adj2" fmla="val 327528"/>
            <a:gd name="adj3" fmla="val 1472472"/>
            <a:gd name="adj4" fmla="val 19800000"/>
            <a:gd name="adj5" fmla="val 5932"/>
          </a:avLst>
        </a:prstGeom>
        <a:solidFill>
          <a:srgbClr val="5B9BD5">
            <a:tint val="60000"/>
            <a:hueOff val="0"/>
            <a:satOff val="0"/>
            <a:lumOff val="0"/>
            <a:alphaOff val="0"/>
          </a:srgbClr>
        </a:solidFill>
        <a:ln>
          <a:noFill/>
        </a:ln>
        <a:effectLst/>
      </dgm:spPr>
    </dgm:pt>
    <dgm:pt modelId="{D9F11BD0-3A51-4042-9CF1-5F5476BD18F3}" type="pres">
      <dgm:prSet presAssocID="{C2AAFB0A-D946-492A-9931-149734B009BF}" presName="arrowWedge3" presStyleLbl="fgSibTrans2D1" presStyleIdx="2" presStyleCnt="6"/>
      <dgm:spPr>
        <a:xfrm>
          <a:off x="558303" y="130992"/>
          <a:ext cx="3104832" cy="3104832"/>
        </a:xfrm>
        <a:prstGeom prst="circularArrow">
          <a:avLst>
            <a:gd name="adj1" fmla="val 5085"/>
            <a:gd name="adj2" fmla="val 327528"/>
            <a:gd name="adj3" fmla="val 5072221"/>
            <a:gd name="adj4" fmla="val 1800000"/>
            <a:gd name="adj5" fmla="val 5932"/>
          </a:avLst>
        </a:prstGeom>
        <a:solidFill>
          <a:srgbClr val="5B9BD5">
            <a:tint val="60000"/>
            <a:hueOff val="0"/>
            <a:satOff val="0"/>
            <a:lumOff val="0"/>
            <a:alphaOff val="0"/>
          </a:srgbClr>
        </a:solidFill>
        <a:ln>
          <a:noFill/>
        </a:ln>
        <a:effectLst/>
      </dgm:spPr>
    </dgm:pt>
    <dgm:pt modelId="{1820B75B-CD38-46ED-BA7A-CE66F46F27A8}" type="pres">
      <dgm:prSet presAssocID="{DF3A515A-9EFA-4E0B-9FDB-E8C20EDEDA78}" presName="arrowWedge4" presStyleLbl="fgSibTrans2D1" presStyleIdx="3" presStyleCnt="6"/>
      <dgm:spPr>
        <a:xfrm>
          <a:off x="492725" y="130992"/>
          <a:ext cx="3104832" cy="3104832"/>
        </a:xfrm>
        <a:prstGeom prst="circularArrow">
          <a:avLst>
            <a:gd name="adj1" fmla="val 5085"/>
            <a:gd name="adj2" fmla="val 327528"/>
            <a:gd name="adj3" fmla="val 8672472"/>
            <a:gd name="adj4" fmla="val 5400251"/>
            <a:gd name="adj5" fmla="val 5932"/>
          </a:avLst>
        </a:prstGeom>
        <a:solidFill>
          <a:srgbClr val="5B9BD5">
            <a:tint val="60000"/>
            <a:hueOff val="0"/>
            <a:satOff val="0"/>
            <a:lumOff val="0"/>
            <a:alphaOff val="0"/>
          </a:srgbClr>
        </a:solidFill>
        <a:ln>
          <a:noFill/>
        </a:ln>
        <a:effectLst/>
      </dgm:spPr>
    </dgm:pt>
    <dgm:pt modelId="{E36D088E-2B1A-4DE4-9951-E021EDEDA62A}" type="pres">
      <dgm:prSet presAssocID="{8E9691DC-6ECF-4AA5-879E-5DEA4A1825FC}" presName="arrowWedge5" presStyleLbl="fgSibTrans2D1" presStyleIdx="4" presStyleCnt="6"/>
      <dgm:spPr>
        <a:xfrm>
          <a:off x="459835" y="74092"/>
          <a:ext cx="3104832" cy="3104832"/>
        </a:xfrm>
        <a:prstGeom prst="circularArrow">
          <a:avLst>
            <a:gd name="adj1" fmla="val 5085"/>
            <a:gd name="adj2" fmla="val 327528"/>
            <a:gd name="adj3" fmla="val 12272472"/>
            <a:gd name="adj4" fmla="val 9000000"/>
            <a:gd name="adj5" fmla="val 5932"/>
          </a:avLst>
        </a:prstGeom>
        <a:solidFill>
          <a:srgbClr val="5B9BD5">
            <a:tint val="60000"/>
            <a:hueOff val="0"/>
            <a:satOff val="0"/>
            <a:lumOff val="0"/>
            <a:alphaOff val="0"/>
          </a:srgbClr>
        </a:solidFill>
        <a:ln>
          <a:noFill/>
        </a:ln>
        <a:effectLst/>
      </dgm:spPr>
    </dgm:pt>
    <dgm:pt modelId="{642EDBA7-978D-4E4C-920E-9FF6BA14C57A}" type="pres">
      <dgm:prSet presAssocID="{14DD7FFE-4A12-486C-BA69-54C3FD989314}" presName="arrowWedge6" presStyleLbl="fgSibTrans2D1" presStyleIdx="5" presStyleCnt="6"/>
      <dgm:spPr>
        <a:xfrm>
          <a:off x="492725" y="17192"/>
          <a:ext cx="3104832" cy="3104832"/>
        </a:xfrm>
        <a:prstGeom prst="circularArrow">
          <a:avLst>
            <a:gd name="adj1" fmla="val 5085"/>
            <a:gd name="adj2" fmla="val 327528"/>
            <a:gd name="adj3" fmla="val 15872221"/>
            <a:gd name="adj4" fmla="val 12600000"/>
            <a:gd name="adj5" fmla="val 5932"/>
          </a:avLst>
        </a:prstGeom>
        <a:solidFill>
          <a:srgbClr val="5B9BD5">
            <a:tint val="60000"/>
            <a:hueOff val="0"/>
            <a:satOff val="0"/>
            <a:lumOff val="0"/>
            <a:alphaOff val="0"/>
          </a:srgbClr>
        </a:solidFill>
        <a:ln>
          <a:noFill/>
        </a:ln>
        <a:effectLst/>
      </dgm:spPr>
    </dgm:pt>
  </dgm:ptLst>
  <dgm:cxnLst>
    <dgm:cxn modelId="{D135621F-8F9A-47C6-8E59-4C3371CE96FA}" type="presOf" srcId="{F1B6D8FB-946E-4398-A01E-0BC75391674A}" destId="{916B9AD5-09A9-4585-9580-2587D30F3589}" srcOrd="1" destOrd="0" presId="urn:microsoft.com/office/officeart/2005/8/layout/cycle8"/>
    <dgm:cxn modelId="{6C72183D-0269-4E76-A0DD-D5B011F9FDEB}" type="presOf" srcId="{A40B28D2-F25C-43D6-9B81-D05E881DFC01}" destId="{674C9EFD-04BC-477C-ADA3-62D09C4F559E}" srcOrd="0" destOrd="0" presId="urn:microsoft.com/office/officeart/2005/8/layout/cycle8"/>
    <dgm:cxn modelId="{44EB7641-C24B-4B8E-9435-84582DF6BD65}" srcId="{78E4C978-A1D3-4930-A17A-B5C2736FC90F}" destId="{584BBEB1-81DD-4552-9722-164BFD9D02B7}" srcOrd="3" destOrd="0" parTransId="{DE10EF23-EB0F-434C-B9C9-08554F637385}" sibTransId="{DF3A515A-9EFA-4E0B-9FDB-E8C20EDEDA78}"/>
    <dgm:cxn modelId="{C18DBC50-C02D-4EDB-9212-7D4EC7FE1655}" srcId="{78E4C978-A1D3-4930-A17A-B5C2736FC90F}" destId="{F1B6D8FB-946E-4398-A01E-0BC75391674A}" srcOrd="2" destOrd="0" parTransId="{EF3CCFC5-49ED-4AC1-A690-B2AB3DAD7BD5}" sibTransId="{C2AAFB0A-D946-492A-9931-149734B009BF}"/>
    <dgm:cxn modelId="{AF318653-5747-4A61-A6E2-66E5047B5117}" type="presOf" srcId="{E067D905-6F79-41DB-BA6B-44A833E5444B}" destId="{538CF2B3-54E9-4B71-8DBF-D249BFBBEB37}" srcOrd="1" destOrd="0" presId="urn:microsoft.com/office/officeart/2005/8/layout/cycle8"/>
    <dgm:cxn modelId="{05B3F474-7C2B-4EBB-84A2-B0C4E1EED371}" srcId="{78E4C978-A1D3-4930-A17A-B5C2736FC90F}" destId="{BF839C99-4BA4-41C4-9F7F-4FB96810FF19}" srcOrd="0" destOrd="0" parTransId="{D6DDF6FC-80E6-47A6-BE75-A716BC9896BB}" sibTransId="{DE223D18-7310-4A9B-A3E3-CFB7D5F1722D}"/>
    <dgm:cxn modelId="{EC74D657-2F37-4439-9B64-44454350D0CE}" type="presOf" srcId="{F388EC91-2237-4BE8-9DC2-3C81A36D0E6A}" destId="{A335ED39-07EF-484D-A389-8F0467D705E5}" srcOrd="1" destOrd="0" presId="urn:microsoft.com/office/officeart/2005/8/layout/cycle8"/>
    <dgm:cxn modelId="{F0390789-CC8A-4357-91EE-1F638BAC0B93}" type="presOf" srcId="{F388EC91-2237-4BE8-9DC2-3C81A36D0E6A}" destId="{1011F591-0B8D-4D58-A388-F5B5E4F5871A}" srcOrd="0" destOrd="0" presId="urn:microsoft.com/office/officeart/2005/8/layout/cycle8"/>
    <dgm:cxn modelId="{1B5B2D91-5A6D-4CA0-8349-087F1743530C}" type="presOf" srcId="{78E4C978-A1D3-4930-A17A-B5C2736FC90F}" destId="{3EEEE85E-76C8-4B8E-9977-B2BF0BCD1BC2}" srcOrd="0" destOrd="0" presId="urn:microsoft.com/office/officeart/2005/8/layout/cycle8"/>
    <dgm:cxn modelId="{4937EEA7-492D-4FCF-B561-B4CF15878DFE}" type="presOf" srcId="{584BBEB1-81DD-4552-9722-164BFD9D02B7}" destId="{9195F98F-C504-412F-ABD3-3E68E6D44219}" srcOrd="0" destOrd="0" presId="urn:microsoft.com/office/officeart/2005/8/layout/cycle8"/>
    <dgm:cxn modelId="{336FCBAA-2F96-4AD0-AF4C-0E99D67101EB}" type="presOf" srcId="{584BBEB1-81DD-4552-9722-164BFD9D02B7}" destId="{47EC9A3F-0539-49B5-A12C-6954EA4F9FA1}" srcOrd="1" destOrd="0" presId="urn:microsoft.com/office/officeart/2005/8/layout/cycle8"/>
    <dgm:cxn modelId="{9C65C1AB-382C-4784-8239-1679EC6A95EE}" type="presOf" srcId="{F1B6D8FB-946E-4398-A01E-0BC75391674A}" destId="{1813160A-07B0-4E09-B498-962F085E245B}" srcOrd="0" destOrd="0" presId="urn:microsoft.com/office/officeart/2005/8/layout/cycle8"/>
    <dgm:cxn modelId="{5BB32AC3-AF43-4DC9-A3EA-D4D89F57D8BA}" srcId="{78E4C978-A1D3-4930-A17A-B5C2736FC90F}" destId="{E067D905-6F79-41DB-BA6B-44A833E5444B}" srcOrd="4" destOrd="0" parTransId="{C6E25619-4DAD-4D28-9434-C631ED54F22D}" sibTransId="{8E9691DC-6ECF-4AA5-879E-5DEA4A1825FC}"/>
    <dgm:cxn modelId="{D17567C8-DF4D-4296-A619-4FFFE7B43B73}" type="presOf" srcId="{BF839C99-4BA4-41C4-9F7F-4FB96810FF19}" destId="{93527812-07E1-45B6-B92F-091061A7B726}" srcOrd="1" destOrd="0" presId="urn:microsoft.com/office/officeart/2005/8/layout/cycle8"/>
    <dgm:cxn modelId="{C09149D3-CC6C-46FE-B904-4C3B3D51F2E7}" srcId="{78E4C978-A1D3-4930-A17A-B5C2736FC90F}" destId="{A40B28D2-F25C-43D6-9B81-D05E881DFC01}" srcOrd="5" destOrd="0" parTransId="{61D7E22E-AA38-4C1A-907D-BB8FD61FC3AD}" sibTransId="{14DD7FFE-4A12-486C-BA69-54C3FD989314}"/>
    <dgm:cxn modelId="{1082DDEA-3659-47DA-AC48-9D47DD8EADDB}" type="presOf" srcId="{A40B28D2-F25C-43D6-9B81-D05E881DFC01}" destId="{E4CEA1DB-5EBB-4FC2-A5BA-F86C12589B9C}" srcOrd="1" destOrd="0" presId="urn:microsoft.com/office/officeart/2005/8/layout/cycle8"/>
    <dgm:cxn modelId="{C27533EF-3C82-41AF-BAA6-B2E1D15E627C}" srcId="{78E4C978-A1D3-4930-A17A-B5C2736FC90F}" destId="{F388EC91-2237-4BE8-9DC2-3C81A36D0E6A}" srcOrd="1" destOrd="0" parTransId="{A0E6EA11-DA19-44B4-AA70-DBD7AF82068B}" sibTransId="{57F1537A-80CB-498A-A20C-912CB637C614}"/>
    <dgm:cxn modelId="{516249F3-0BDB-4783-92EF-8B7C97145680}" type="presOf" srcId="{BF839C99-4BA4-41C4-9F7F-4FB96810FF19}" destId="{5E6865DB-A1D8-4B36-B2BD-20A6088C401F}" srcOrd="0" destOrd="0" presId="urn:microsoft.com/office/officeart/2005/8/layout/cycle8"/>
    <dgm:cxn modelId="{0F0726F7-3FAE-402A-8D87-BE8076619BE0}" type="presOf" srcId="{E067D905-6F79-41DB-BA6B-44A833E5444B}" destId="{8FD70192-FCA8-4474-BEAA-9A77238E8C22}" srcOrd="0" destOrd="0" presId="urn:microsoft.com/office/officeart/2005/8/layout/cycle8"/>
    <dgm:cxn modelId="{E22D0A62-9780-4A41-9EAB-87570536B29F}" type="presParOf" srcId="{3EEEE85E-76C8-4B8E-9977-B2BF0BCD1BC2}" destId="{5E6865DB-A1D8-4B36-B2BD-20A6088C401F}" srcOrd="0" destOrd="0" presId="urn:microsoft.com/office/officeart/2005/8/layout/cycle8"/>
    <dgm:cxn modelId="{19B495B3-9818-425E-9B40-3A5DA1075C68}" type="presParOf" srcId="{3EEEE85E-76C8-4B8E-9977-B2BF0BCD1BC2}" destId="{C0D297FE-528D-49CC-8D2A-80B08A1F3E1A}" srcOrd="1" destOrd="0" presId="urn:microsoft.com/office/officeart/2005/8/layout/cycle8"/>
    <dgm:cxn modelId="{6352EBE3-E4A1-4456-9381-A0415AB1B687}" type="presParOf" srcId="{3EEEE85E-76C8-4B8E-9977-B2BF0BCD1BC2}" destId="{2D2DA996-B6C5-4951-8F61-1C8DEBA11B7E}" srcOrd="2" destOrd="0" presId="urn:microsoft.com/office/officeart/2005/8/layout/cycle8"/>
    <dgm:cxn modelId="{48A5F42C-492F-4E05-BE06-6574DEAB5924}" type="presParOf" srcId="{3EEEE85E-76C8-4B8E-9977-B2BF0BCD1BC2}" destId="{93527812-07E1-45B6-B92F-091061A7B726}" srcOrd="3" destOrd="0" presId="urn:microsoft.com/office/officeart/2005/8/layout/cycle8"/>
    <dgm:cxn modelId="{8D0456D4-4606-4286-90E5-CCF680D7A9B9}" type="presParOf" srcId="{3EEEE85E-76C8-4B8E-9977-B2BF0BCD1BC2}" destId="{1011F591-0B8D-4D58-A388-F5B5E4F5871A}" srcOrd="4" destOrd="0" presId="urn:microsoft.com/office/officeart/2005/8/layout/cycle8"/>
    <dgm:cxn modelId="{05A95668-374D-4A9E-9885-7DB153937BE2}" type="presParOf" srcId="{3EEEE85E-76C8-4B8E-9977-B2BF0BCD1BC2}" destId="{BF3154EF-BF82-4D85-9277-46C4500ED899}" srcOrd="5" destOrd="0" presId="urn:microsoft.com/office/officeart/2005/8/layout/cycle8"/>
    <dgm:cxn modelId="{E259ABA1-B6F7-4CCC-B1CE-CE5AF6C485C4}" type="presParOf" srcId="{3EEEE85E-76C8-4B8E-9977-B2BF0BCD1BC2}" destId="{80BC739C-FE7A-4E01-A73A-9F6AE855205F}" srcOrd="6" destOrd="0" presId="urn:microsoft.com/office/officeart/2005/8/layout/cycle8"/>
    <dgm:cxn modelId="{EC4ED797-92E3-40DE-97A5-1FA81B07247D}" type="presParOf" srcId="{3EEEE85E-76C8-4B8E-9977-B2BF0BCD1BC2}" destId="{A335ED39-07EF-484D-A389-8F0467D705E5}" srcOrd="7" destOrd="0" presId="urn:microsoft.com/office/officeart/2005/8/layout/cycle8"/>
    <dgm:cxn modelId="{18D69809-16F1-4B75-8550-DA2EE6C79792}" type="presParOf" srcId="{3EEEE85E-76C8-4B8E-9977-B2BF0BCD1BC2}" destId="{1813160A-07B0-4E09-B498-962F085E245B}" srcOrd="8" destOrd="0" presId="urn:microsoft.com/office/officeart/2005/8/layout/cycle8"/>
    <dgm:cxn modelId="{842C5336-EFDA-4B4D-8EA1-9974536E98B4}" type="presParOf" srcId="{3EEEE85E-76C8-4B8E-9977-B2BF0BCD1BC2}" destId="{F678187D-A6C5-4337-8970-85892C014507}" srcOrd="9" destOrd="0" presId="urn:microsoft.com/office/officeart/2005/8/layout/cycle8"/>
    <dgm:cxn modelId="{2F49AD92-524E-4F05-B78C-9A98648A1F14}" type="presParOf" srcId="{3EEEE85E-76C8-4B8E-9977-B2BF0BCD1BC2}" destId="{63D0495F-4A54-4DF6-B25A-3999BD6BF53D}" srcOrd="10" destOrd="0" presId="urn:microsoft.com/office/officeart/2005/8/layout/cycle8"/>
    <dgm:cxn modelId="{3FE41D90-F3E3-4DE0-BE2A-F5CCD7134B28}" type="presParOf" srcId="{3EEEE85E-76C8-4B8E-9977-B2BF0BCD1BC2}" destId="{916B9AD5-09A9-4585-9580-2587D30F3589}" srcOrd="11" destOrd="0" presId="urn:microsoft.com/office/officeart/2005/8/layout/cycle8"/>
    <dgm:cxn modelId="{A4D055FD-089C-40EF-B84A-8A324F2E9FCD}" type="presParOf" srcId="{3EEEE85E-76C8-4B8E-9977-B2BF0BCD1BC2}" destId="{9195F98F-C504-412F-ABD3-3E68E6D44219}" srcOrd="12" destOrd="0" presId="urn:microsoft.com/office/officeart/2005/8/layout/cycle8"/>
    <dgm:cxn modelId="{EDC5D5EE-C667-4EA1-B671-A0363DE1E1D7}" type="presParOf" srcId="{3EEEE85E-76C8-4B8E-9977-B2BF0BCD1BC2}" destId="{75E73F62-4B22-41BF-921A-CF909FF2D8A3}" srcOrd="13" destOrd="0" presId="urn:microsoft.com/office/officeart/2005/8/layout/cycle8"/>
    <dgm:cxn modelId="{23D37017-606F-4316-91D4-BF130D37A1AC}" type="presParOf" srcId="{3EEEE85E-76C8-4B8E-9977-B2BF0BCD1BC2}" destId="{48D0F9C4-ED3C-45DD-81DD-13303EC91E77}" srcOrd="14" destOrd="0" presId="urn:microsoft.com/office/officeart/2005/8/layout/cycle8"/>
    <dgm:cxn modelId="{175A4FA6-7E0E-4EE5-902D-3267A1DDAD3C}" type="presParOf" srcId="{3EEEE85E-76C8-4B8E-9977-B2BF0BCD1BC2}" destId="{47EC9A3F-0539-49B5-A12C-6954EA4F9FA1}" srcOrd="15" destOrd="0" presId="urn:microsoft.com/office/officeart/2005/8/layout/cycle8"/>
    <dgm:cxn modelId="{59BE6B8D-F628-4D87-8012-8C01F18BBEA1}" type="presParOf" srcId="{3EEEE85E-76C8-4B8E-9977-B2BF0BCD1BC2}" destId="{8FD70192-FCA8-4474-BEAA-9A77238E8C22}" srcOrd="16" destOrd="0" presId="urn:microsoft.com/office/officeart/2005/8/layout/cycle8"/>
    <dgm:cxn modelId="{1CF25EF4-4E92-4ABC-BE38-24A48010D637}" type="presParOf" srcId="{3EEEE85E-76C8-4B8E-9977-B2BF0BCD1BC2}" destId="{71F38C2F-CCFA-4762-8C8B-4CC2134EA5FE}" srcOrd="17" destOrd="0" presId="urn:microsoft.com/office/officeart/2005/8/layout/cycle8"/>
    <dgm:cxn modelId="{03BCE729-F594-4EE7-A3A7-C5AFC2AE39FB}" type="presParOf" srcId="{3EEEE85E-76C8-4B8E-9977-B2BF0BCD1BC2}" destId="{025D3D34-3C0E-48AD-9AAF-DC3465DADBF4}" srcOrd="18" destOrd="0" presId="urn:microsoft.com/office/officeart/2005/8/layout/cycle8"/>
    <dgm:cxn modelId="{D03FAA53-6349-4954-B1F3-939C752243F3}" type="presParOf" srcId="{3EEEE85E-76C8-4B8E-9977-B2BF0BCD1BC2}" destId="{538CF2B3-54E9-4B71-8DBF-D249BFBBEB37}" srcOrd="19" destOrd="0" presId="urn:microsoft.com/office/officeart/2005/8/layout/cycle8"/>
    <dgm:cxn modelId="{F764FAE7-D8E5-449A-8B06-3486CA6DBCCE}" type="presParOf" srcId="{3EEEE85E-76C8-4B8E-9977-B2BF0BCD1BC2}" destId="{674C9EFD-04BC-477C-ADA3-62D09C4F559E}" srcOrd="20" destOrd="0" presId="urn:microsoft.com/office/officeart/2005/8/layout/cycle8"/>
    <dgm:cxn modelId="{D39AB051-27FD-48A6-A6CA-A13496A922EB}" type="presParOf" srcId="{3EEEE85E-76C8-4B8E-9977-B2BF0BCD1BC2}" destId="{A20D91FD-5DEC-4138-947E-0828870EC06A}" srcOrd="21" destOrd="0" presId="urn:microsoft.com/office/officeart/2005/8/layout/cycle8"/>
    <dgm:cxn modelId="{AA1A3ECF-7FA0-424B-96BA-8950D660FF3B}" type="presParOf" srcId="{3EEEE85E-76C8-4B8E-9977-B2BF0BCD1BC2}" destId="{42D790EC-1FF8-4A38-8E6E-91570DC34E6A}" srcOrd="22" destOrd="0" presId="urn:microsoft.com/office/officeart/2005/8/layout/cycle8"/>
    <dgm:cxn modelId="{D7BF0244-DC06-4658-9FB6-AF670D1251A5}" type="presParOf" srcId="{3EEEE85E-76C8-4B8E-9977-B2BF0BCD1BC2}" destId="{E4CEA1DB-5EBB-4FC2-A5BA-F86C12589B9C}" srcOrd="23" destOrd="0" presId="urn:microsoft.com/office/officeart/2005/8/layout/cycle8"/>
    <dgm:cxn modelId="{549ED379-6073-4A32-97DF-511E5AA4B103}" type="presParOf" srcId="{3EEEE85E-76C8-4B8E-9977-B2BF0BCD1BC2}" destId="{7D05639B-CC6F-45D5-B3F6-E1EC1BDECE17}" srcOrd="24" destOrd="0" presId="urn:microsoft.com/office/officeart/2005/8/layout/cycle8"/>
    <dgm:cxn modelId="{5F920AC2-A690-47E0-9504-801C57DB3912}" type="presParOf" srcId="{3EEEE85E-76C8-4B8E-9977-B2BF0BCD1BC2}" destId="{45AD6318-E5B0-43B1-A1F0-3534026C21A0}" srcOrd="25" destOrd="0" presId="urn:microsoft.com/office/officeart/2005/8/layout/cycle8"/>
    <dgm:cxn modelId="{67DD98CE-232A-489E-9508-3132437119B1}" type="presParOf" srcId="{3EEEE85E-76C8-4B8E-9977-B2BF0BCD1BC2}" destId="{D9F11BD0-3A51-4042-9CF1-5F5476BD18F3}" srcOrd="26" destOrd="0" presId="urn:microsoft.com/office/officeart/2005/8/layout/cycle8"/>
    <dgm:cxn modelId="{C2C39ED7-8680-43D0-AA7C-1D8B2C290CAB}" type="presParOf" srcId="{3EEEE85E-76C8-4B8E-9977-B2BF0BCD1BC2}" destId="{1820B75B-CD38-46ED-BA7A-CE66F46F27A8}" srcOrd="27" destOrd="0" presId="urn:microsoft.com/office/officeart/2005/8/layout/cycle8"/>
    <dgm:cxn modelId="{CE124FEA-6086-49A3-A55D-598651F75B10}" type="presParOf" srcId="{3EEEE85E-76C8-4B8E-9977-B2BF0BCD1BC2}" destId="{E36D088E-2B1A-4DE4-9951-E021EDEDA62A}" srcOrd="28" destOrd="0" presId="urn:microsoft.com/office/officeart/2005/8/layout/cycle8"/>
    <dgm:cxn modelId="{9AD0B631-F589-48D0-B2B0-110F85A286C1}" type="presParOf" srcId="{3EEEE85E-76C8-4B8E-9977-B2BF0BCD1BC2}" destId="{642EDBA7-978D-4E4C-920E-9FF6BA14C57A}" srcOrd="29" destOrd="0" presId="urn:microsoft.com/office/officeart/2005/8/layout/cycle8"/>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0D5445-E0E1-4E02-82DE-3B48ECAE2FD9}"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tr-TR"/>
        </a:p>
      </dgm:t>
    </dgm:pt>
    <dgm:pt modelId="{496ABA3A-FA04-4560-B9A4-7A5F3D82FC02}">
      <dgm:prSet phldrT="[Text]"/>
      <dgm:spPr/>
      <dgm:t>
        <a:bodyPr/>
        <a:lstStyle/>
        <a:p>
          <a:r>
            <a:rPr lang="tr-TR" dirty="0" err="1"/>
            <a:t>Kestirimci</a:t>
          </a:r>
          <a:r>
            <a:rPr lang="tr-TR" dirty="0"/>
            <a:t> Bakım Uygulamaları</a:t>
          </a:r>
        </a:p>
      </dgm:t>
    </dgm:pt>
    <dgm:pt modelId="{F34080C7-F5D1-4340-B145-6DA4BBE6468A}" type="parTrans" cxnId="{F8001F47-0D4D-469B-9FDB-C5AC69BA4F50}">
      <dgm:prSet/>
      <dgm:spPr/>
      <dgm:t>
        <a:bodyPr/>
        <a:lstStyle/>
        <a:p>
          <a:endParaRPr lang="tr-TR"/>
        </a:p>
      </dgm:t>
    </dgm:pt>
    <dgm:pt modelId="{589344A8-1B71-40B1-B1F0-FD4320DAF9A2}" type="sibTrans" cxnId="{F8001F47-0D4D-469B-9FDB-C5AC69BA4F50}">
      <dgm:prSet/>
      <dgm:spPr/>
      <dgm:t>
        <a:bodyPr/>
        <a:lstStyle/>
        <a:p>
          <a:endParaRPr lang="tr-TR"/>
        </a:p>
      </dgm:t>
    </dgm:pt>
    <dgm:pt modelId="{6730403B-03B5-436D-B6F3-82714C145871}">
      <dgm:prSet phldrT="[Text]"/>
      <dgm:spPr/>
      <dgm:t>
        <a:bodyPr/>
        <a:lstStyle/>
        <a:p>
          <a:r>
            <a:rPr lang="tr-TR" dirty="0"/>
            <a:t>Titreşim Ölçümleri</a:t>
          </a:r>
        </a:p>
      </dgm:t>
    </dgm:pt>
    <dgm:pt modelId="{3B196507-C631-44EC-BA5A-02F4C8631A53}" type="parTrans" cxnId="{3EE8E91B-4F2D-49DC-96BC-1706A2114D60}">
      <dgm:prSet/>
      <dgm:spPr/>
      <dgm:t>
        <a:bodyPr/>
        <a:lstStyle/>
        <a:p>
          <a:endParaRPr lang="tr-TR"/>
        </a:p>
      </dgm:t>
    </dgm:pt>
    <dgm:pt modelId="{DAFA5204-8F1C-41F7-852B-EBE8F2A5F826}" type="sibTrans" cxnId="{3EE8E91B-4F2D-49DC-96BC-1706A2114D60}">
      <dgm:prSet/>
      <dgm:spPr/>
      <dgm:t>
        <a:bodyPr/>
        <a:lstStyle/>
        <a:p>
          <a:endParaRPr lang="tr-TR"/>
        </a:p>
      </dgm:t>
    </dgm:pt>
    <dgm:pt modelId="{978F21A6-1403-4C6A-8431-B5CB30CC7700}">
      <dgm:prSet phldrT="[Text]"/>
      <dgm:spPr/>
      <dgm:t>
        <a:bodyPr/>
        <a:lstStyle/>
        <a:p>
          <a:r>
            <a:rPr lang="tr-TR" dirty="0" err="1"/>
            <a:t>Ultrasound</a:t>
          </a:r>
          <a:endParaRPr lang="tr-TR" dirty="0"/>
        </a:p>
      </dgm:t>
    </dgm:pt>
    <dgm:pt modelId="{E545FD02-FC1D-4617-AEBE-1C222BD99479}" type="parTrans" cxnId="{FB43F61F-E1AB-40A1-A2A8-1203710295A2}">
      <dgm:prSet/>
      <dgm:spPr/>
      <dgm:t>
        <a:bodyPr/>
        <a:lstStyle/>
        <a:p>
          <a:endParaRPr lang="tr-TR"/>
        </a:p>
      </dgm:t>
    </dgm:pt>
    <dgm:pt modelId="{4E1B67D5-F3AE-4FFA-A789-02248B77BEC9}" type="sibTrans" cxnId="{FB43F61F-E1AB-40A1-A2A8-1203710295A2}">
      <dgm:prSet/>
      <dgm:spPr/>
      <dgm:t>
        <a:bodyPr/>
        <a:lstStyle/>
        <a:p>
          <a:endParaRPr lang="tr-TR"/>
        </a:p>
      </dgm:t>
    </dgm:pt>
    <dgm:pt modelId="{B0FC32E2-5661-4676-9BF5-C28D2EA7C280}">
      <dgm:prSet phldrT="[Text]"/>
      <dgm:spPr/>
      <dgm:t>
        <a:bodyPr/>
        <a:lstStyle/>
        <a:p>
          <a:r>
            <a:rPr lang="tr-TR" dirty="0"/>
            <a:t>Yağlama</a:t>
          </a:r>
        </a:p>
      </dgm:t>
    </dgm:pt>
    <dgm:pt modelId="{30CBC20E-B14A-466B-B3A9-728CD0F0E5FE}" type="parTrans" cxnId="{026867FD-9DC4-4DA4-A6C5-252272C20F11}">
      <dgm:prSet/>
      <dgm:spPr/>
      <dgm:t>
        <a:bodyPr/>
        <a:lstStyle/>
        <a:p>
          <a:endParaRPr lang="tr-TR"/>
        </a:p>
      </dgm:t>
    </dgm:pt>
    <dgm:pt modelId="{CA47C44D-357C-4227-9DCF-99F0300B1A21}" type="sibTrans" cxnId="{026867FD-9DC4-4DA4-A6C5-252272C20F11}">
      <dgm:prSet/>
      <dgm:spPr/>
      <dgm:t>
        <a:bodyPr/>
        <a:lstStyle/>
        <a:p>
          <a:endParaRPr lang="tr-TR"/>
        </a:p>
      </dgm:t>
    </dgm:pt>
    <dgm:pt modelId="{4A59528F-6F30-4790-8128-AC286FF1253F}">
      <dgm:prSet/>
      <dgm:spPr/>
      <dgm:t>
        <a:bodyPr/>
        <a:lstStyle/>
        <a:p>
          <a:r>
            <a:rPr lang="tr-TR" dirty="0"/>
            <a:t>Offline</a:t>
          </a:r>
        </a:p>
      </dgm:t>
    </dgm:pt>
    <dgm:pt modelId="{63ABB8BD-92E0-47C3-B228-9FD351DA6587}" type="parTrans" cxnId="{5746052B-6F22-493D-BAC2-35F6A341F2C5}">
      <dgm:prSet/>
      <dgm:spPr/>
      <dgm:t>
        <a:bodyPr/>
        <a:lstStyle/>
        <a:p>
          <a:endParaRPr lang="tr-TR"/>
        </a:p>
      </dgm:t>
    </dgm:pt>
    <dgm:pt modelId="{8FD621C9-24F1-4A1A-876F-7AB0CE40B0D0}" type="sibTrans" cxnId="{5746052B-6F22-493D-BAC2-35F6A341F2C5}">
      <dgm:prSet/>
      <dgm:spPr/>
      <dgm:t>
        <a:bodyPr/>
        <a:lstStyle/>
        <a:p>
          <a:endParaRPr lang="tr-TR"/>
        </a:p>
      </dgm:t>
    </dgm:pt>
    <dgm:pt modelId="{169131C0-C585-496B-82BA-2EFABA1B1479}">
      <dgm:prSet/>
      <dgm:spPr/>
      <dgm:t>
        <a:bodyPr/>
        <a:lstStyle/>
        <a:p>
          <a:r>
            <a:rPr lang="tr-TR" dirty="0" err="1"/>
            <a:t>Steam</a:t>
          </a:r>
          <a:r>
            <a:rPr lang="tr-TR" dirty="0"/>
            <a:t> Trap</a:t>
          </a:r>
        </a:p>
      </dgm:t>
    </dgm:pt>
    <dgm:pt modelId="{C7C358AC-A680-4966-A92E-EFE54F510014}" type="parTrans" cxnId="{F8C2FB7D-1ED7-47D1-A78C-E5AAECC43030}">
      <dgm:prSet/>
      <dgm:spPr/>
      <dgm:t>
        <a:bodyPr/>
        <a:lstStyle/>
        <a:p>
          <a:endParaRPr lang="tr-TR"/>
        </a:p>
      </dgm:t>
    </dgm:pt>
    <dgm:pt modelId="{246CCDCE-4A33-45E6-BCC5-8BF039162D1D}" type="sibTrans" cxnId="{F8C2FB7D-1ED7-47D1-A78C-E5AAECC43030}">
      <dgm:prSet/>
      <dgm:spPr/>
      <dgm:t>
        <a:bodyPr/>
        <a:lstStyle/>
        <a:p>
          <a:endParaRPr lang="tr-TR"/>
        </a:p>
      </dgm:t>
    </dgm:pt>
    <dgm:pt modelId="{484677A8-4A46-4076-99B2-C8DCE25E93B7}">
      <dgm:prSet/>
      <dgm:spPr/>
      <dgm:t>
        <a:bodyPr/>
        <a:lstStyle/>
        <a:p>
          <a:r>
            <a:rPr lang="tr-TR" dirty="0"/>
            <a:t>Akıllı Araçlar ve  Analiz Sistemleri</a:t>
          </a:r>
        </a:p>
      </dgm:t>
    </dgm:pt>
    <dgm:pt modelId="{F89BB3D2-812A-4267-8B3F-C22FB76B382A}" type="parTrans" cxnId="{DE2ADC8C-7728-4398-90DE-5ACB26C0D2A9}">
      <dgm:prSet/>
      <dgm:spPr/>
      <dgm:t>
        <a:bodyPr/>
        <a:lstStyle/>
        <a:p>
          <a:endParaRPr lang="tr-TR"/>
        </a:p>
      </dgm:t>
    </dgm:pt>
    <dgm:pt modelId="{766E07B1-4C2A-4F56-8238-716CB87B4F4C}" type="sibTrans" cxnId="{DE2ADC8C-7728-4398-90DE-5ACB26C0D2A9}">
      <dgm:prSet/>
      <dgm:spPr/>
      <dgm:t>
        <a:bodyPr/>
        <a:lstStyle/>
        <a:p>
          <a:endParaRPr lang="tr-TR"/>
        </a:p>
      </dgm:t>
    </dgm:pt>
    <dgm:pt modelId="{0B13C894-EB35-44A4-A03D-EA7EF6D20511}">
      <dgm:prSet/>
      <dgm:spPr/>
      <dgm:t>
        <a:bodyPr/>
        <a:lstStyle/>
        <a:p>
          <a:r>
            <a:rPr lang="tr-TR" dirty="0"/>
            <a:t>Termal Kamera</a:t>
          </a:r>
        </a:p>
      </dgm:t>
    </dgm:pt>
    <dgm:pt modelId="{A21A9CBF-E59F-4232-A9F7-B2D7CC2D3388}" type="parTrans" cxnId="{484EA518-6D78-4413-A190-9B6903167665}">
      <dgm:prSet/>
      <dgm:spPr/>
      <dgm:t>
        <a:bodyPr/>
        <a:lstStyle/>
        <a:p>
          <a:endParaRPr lang="tr-TR"/>
        </a:p>
      </dgm:t>
    </dgm:pt>
    <dgm:pt modelId="{AA5E60FB-B571-4FB0-B361-6CEBA44AACB2}" type="sibTrans" cxnId="{484EA518-6D78-4413-A190-9B6903167665}">
      <dgm:prSet/>
      <dgm:spPr/>
      <dgm:t>
        <a:bodyPr/>
        <a:lstStyle/>
        <a:p>
          <a:endParaRPr lang="tr-TR"/>
        </a:p>
      </dgm:t>
    </dgm:pt>
    <dgm:pt modelId="{86E59DDD-D9ED-4B4A-95E8-2FA2E78F9E9E}">
      <dgm:prSet/>
      <dgm:spPr/>
      <dgm:t>
        <a:bodyPr/>
        <a:lstStyle/>
        <a:p>
          <a:r>
            <a:rPr lang="tr-TR" dirty="0"/>
            <a:t>Motor </a:t>
          </a:r>
          <a:r>
            <a:rPr lang="tr-TR" dirty="0" err="1"/>
            <a:t>Condition</a:t>
          </a:r>
          <a:r>
            <a:rPr lang="tr-TR" dirty="0"/>
            <a:t> </a:t>
          </a:r>
          <a:r>
            <a:rPr lang="tr-TR" dirty="0" err="1"/>
            <a:t>Monitoring</a:t>
          </a:r>
          <a:endParaRPr lang="tr-TR" dirty="0"/>
        </a:p>
      </dgm:t>
    </dgm:pt>
    <dgm:pt modelId="{D6A0A1CB-FA13-4497-940A-997B2BB3B01C}" type="parTrans" cxnId="{0042B702-8579-4AA7-9F0E-6F278E191C75}">
      <dgm:prSet/>
      <dgm:spPr/>
      <dgm:t>
        <a:bodyPr/>
        <a:lstStyle/>
        <a:p>
          <a:endParaRPr lang="tr-TR"/>
        </a:p>
      </dgm:t>
    </dgm:pt>
    <dgm:pt modelId="{54F7CA0E-F80E-4812-BBBD-9176D78088E7}" type="sibTrans" cxnId="{0042B702-8579-4AA7-9F0E-6F278E191C75}">
      <dgm:prSet/>
      <dgm:spPr/>
      <dgm:t>
        <a:bodyPr/>
        <a:lstStyle/>
        <a:p>
          <a:endParaRPr lang="tr-TR"/>
        </a:p>
      </dgm:t>
    </dgm:pt>
    <dgm:pt modelId="{6A69CD48-0844-42DC-B294-FB90DD2F7D76}">
      <dgm:prSet/>
      <dgm:spPr/>
      <dgm:t>
        <a:bodyPr/>
        <a:lstStyle/>
        <a:p>
          <a:r>
            <a:rPr lang="tr-TR" dirty="0"/>
            <a:t>Gelecek Uygulamalar</a:t>
          </a:r>
        </a:p>
      </dgm:t>
    </dgm:pt>
    <dgm:pt modelId="{24A577C2-8C11-4E33-9F26-E8D786626335}" type="parTrans" cxnId="{FC207402-2588-43EF-94B2-298D170D2D91}">
      <dgm:prSet/>
      <dgm:spPr/>
      <dgm:t>
        <a:bodyPr/>
        <a:lstStyle/>
        <a:p>
          <a:endParaRPr lang="tr-TR"/>
        </a:p>
      </dgm:t>
    </dgm:pt>
    <dgm:pt modelId="{1188690D-75F3-40CD-84E3-D9496A215D98}" type="sibTrans" cxnId="{FC207402-2588-43EF-94B2-298D170D2D91}">
      <dgm:prSet/>
      <dgm:spPr/>
      <dgm:t>
        <a:bodyPr/>
        <a:lstStyle/>
        <a:p>
          <a:endParaRPr lang="tr-TR"/>
        </a:p>
      </dgm:t>
    </dgm:pt>
    <dgm:pt modelId="{A11A4E87-9189-49B1-B405-A8ADE45C89B2}">
      <dgm:prSet/>
      <dgm:spPr/>
      <dgm:t>
        <a:bodyPr/>
        <a:lstStyle/>
        <a:p>
          <a:r>
            <a:rPr lang="tr-TR" dirty="0"/>
            <a:t>Offline</a:t>
          </a:r>
        </a:p>
      </dgm:t>
    </dgm:pt>
    <dgm:pt modelId="{8BEA2FD3-52E3-4F9A-A4B4-EE8BF213B697}" type="parTrans" cxnId="{608A457D-1036-4B70-A965-3A87E1D838DD}">
      <dgm:prSet/>
      <dgm:spPr/>
      <dgm:t>
        <a:bodyPr/>
        <a:lstStyle/>
        <a:p>
          <a:endParaRPr lang="tr-TR"/>
        </a:p>
      </dgm:t>
    </dgm:pt>
    <dgm:pt modelId="{AD850C57-357F-4CC8-A928-941D25FA76CD}" type="sibTrans" cxnId="{608A457D-1036-4B70-A965-3A87E1D838DD}">
      <dgm:prSet/>
      <dgm:spPr/>
      <dgm:t>
        <a:bodyPr/>
        <a:lstStyle/>
        <a:p>
          <a:endParaRPr lang="tr-TR"/>
        </a:p>
      </dgm:t>
    </dgm:pt>
    <dgm:pt modelId="{328D65C6-24B3-4342-B578-0105DC0A1624}">
      <dgm:prSet/>
      <dgm:spPr/>
      <dgm:t>
        <a:bodyPr/>
        <a:lstStyle/>
        <a:p>
          <a:r>
            <a:rPr lang="tr-TR" dirty="0"/>
            <a:t>Online</a:t>
          </a:r>
        </a:p>
      </dgm:t>
    </dgm:pt>
    <dgm:pt modelId="{2EA33D63-115A-4CB5-BA7B-3D2B2B2583EC}" type="parTrans" cxnId="{E7AA409B-C85A-44FC-86DD-FAA79B4D4F4C}">
      <dgm:prSet/>
      <dgm:spPr/>
      <dgm:t>
        <a:bodyPr/>
        <a:lstStyle/>
        <a:p>
          <a:endParaRPr lang="tr-TR"/>
        </a:p>
      </dgm:t>
    </dgm:pt>
    <dgm:pt modelId="{1983D8D5-C8DF-4270-8DAE-8F664206B392}" type="sibTrans" cxnId="{E7AA409B-C85A-44FC-86DD-FAA79B4D4F4C}">
      <dgm:prSet/>
      <dgm:spPr/>
      <dgm:t>
        <a:bodyPr/>
        <a:lstStyle/>
        <a:p>
          <a:endParaRPr lang="tr-TR"/>
        </a:p>
      </dgm:t>
    </dgm:pt>
    <dgm:pt modelId="{105CBE3F-23DA-4B5F-98EC-13ED7DE0C92A}">
      <dgm:prSet/>
      <dgm:spPr/>
      <dgm:t>
        <a:bodyPr/>
        <a:lstStyle/>
        <a:p>
          <a:r>
            <a:rPr lang="tr-TR" dirty="0"/>
            <a:t>Online</a:t>
          </a:r>
        </a:p>
      </dgm:t>
    </dgm:pt>
    <dgm:pt modelId="{299F58E9-1DE3-489F-9AA1-8FEB34F07CEE}" type="parTrans" cxnId="{D9A6FE97-E8EE-414B-9E22-261F6DB30E4A}">
      <dgm:prSet/>
      <dgm:spPr/>
      <dgm:t>
        <a:bodyPr/>
        <a:lstStyle/>
        <a:p>
          <a:endParaRPr lang="tr-TR"/>
        </a:p>
      </dgm:t>
    </dgm:pt>
    <dgm:pt modelId="{50E7E190-E993-4757-9404-99323F651577}" type="sibTrans" cxnId="{D9A6FE97-E8EE-414B-9E22-261F6DB30E4A}">
      <dgm:prSet/>
      <dgm:spPr/>
      <dgm:t>
        <a:bodyPr/>
        <a:lstStyle/>
        <a:p>
          <a:endParaRPr lang="tr-TR"/>
        </a:p>
      </dgm:t>
    </dgm:pt>
    <dgm:pt modelId="{8FFF5B69-CB6A-419E-8F49-ECA006D5B129}">
      <dgm:prSet/>
      <dgm:spPr/>
      <dgm:t>
        <a:bodyPr/>
        <a:lstStyle/>
        <a:p>
          <a:r>
            <a:rPr lang="tr-TR" dirty="0"/>
            <a:t>Offline</a:t>
          </a:r>
        </a:p>
      </dgm:t>
    </dgm:pt>
    <dgm:pt modelId="{98782756-A8DD-4B99-8163-BE0EEAEB84C6}" type="parTrans" cxnId="{5267643A-9ADA-4798-9B76-966193B456DE}">
      <dgm:prSet/>
      <dgm:spPr/>
      <dgm:t>
        <a:bodyPr/>
        <a:lstStyle/>
        <a:p>
          <a:endParaRPr lang="tr-TR"/>
        </a:p>
      </dgm:t>
    </dgm:pt>
    <dgm:pt modelId="{087E5D12-9C3E-4CA7-A1FB-E8A9DC61DEB2}" type="sibTrans" cxnId="{5267643A-9ADA-4798-9B76-966193B456DE}">
      <dgm:prSet/>
      <dgm:spPr/>
      <dgm:t>
        <a:bodyPr/>
        <a:lstStyle/>
        <a:p>
          <a:endParaRPr lang="tr-TR"/>
        </a:p>
      </dgm:t>
    </dgm:pt>
    <dgm:pt modelId="{B91B4D12-D2BE-4C09-B9A5-3CFF4005F72E}">
      <dgm:prSet/>
      <dgm:spPr/>
      <dgm:t>
        <a:bodyPr/>
        <a:lstStyle/>
        <a:p>
          <a:r>
            <a:rPr lang="tr-TR" dirty="0"/>
            <a:t>Online</a:t>
          </a:r>
        </a:p>
      </dgm:t>
    </dgm:pt>
    <dgm:pt modelId="{AA6C7223-E4F6-43DA-B0B8-1B1C37DDEE12}" type="parTrans" cxnId="{259B2759-3FCD-4F8E-AC9E-98942A7E6B2F}">
      <dgm:prSet/>
      <dgm:spPr/>
      <dgm:t>
        <a:bodyPr/>
        <a:lstStyle/>
        <a:p>
          <a:endParaRPr lang="tr-TR"/>
        </a:p>
      </dgm:t>
    </dgm:pt>
    <dgm:pt modelId="{B2B0C536-B7C9-41E4-802D-263B83545AF1}" type="sibTrans" cxnId="{259B2759-3FCD-4F8E-AC9E-98942A7E6B2F}">
      <dgm:prSet/>
      <dgm:spPr/>
      <dgm:t>
        <a:bodyPr/>
        <a:lstStyle/>
        <a:p>
          <a:endParaRPr lang="tr-TR"/>
        </a:p>
      </dgm:t>
    </dgm:pt>
    <dgm:pt modelId="{7D8A1501-A2F2-4927-85D4-1776D3D281EF}" type="pres">
      <dgm:prSet presAssocID="{AF0D5445-E0E1-4E02-82DE-3B48ECAE2FD9}" presName="Name0" presStyleCnt="0">
        <dgm:presLayoutVars>
          <dgm:chPref val="1"/>
          <dgm:dir/>
          <dgm:animOne val="branch"/>
          <dgm:animLvl val="lvl"/>
          <dgm:resizeHandles val="exact"/>
        </dgm:presLayoutVars>
      </dgm:prSet>
      <dgm:spPr/>
    </dgm:pt>
    <dgm:pt modelId="{53207244-F663-4A65-B565-2399820254FB}" type="pres">
      <dgm:prSet presAssocID="{496ABA3A-FA04-4560-B9A4-7A5F3D82FC02}" presName="root1" presStyleCnt="0"/>
      <dgm:spPr/>
    </dgm:pt>
    <dgm:pt modelId="{3FA77CE1-0DC7-442D-BF4A-22C6AFCC2A2F}" type="pres">
      <dgm:prSet presAssocID="{496ABA3A-FA04-4560-B9A4-7A5F3D82FC02}" presName="LevelOneTextNode" presStyleLbl="node0" presStyleIdx="0" presStyleCnt="1" custScaleX="161695" custScaleY="154907">
        <dgm:presLayoutVars>
          <dgm:chPref val="3"/>
        </dgm:presLayoutVars>
      </dgm:prSet>
      <dgm:spPr/>
    </dgm:pt>
    <dgm:pt modelId="{06837A4C-FAE8-4B37-9AEA-0A6B069CE7ED}" type="pres">
      <dgm:prSet presAssocID="{496ABA3A-FA04-4560-B9A4-7A5F3D82FC02}" presName="level2hierChild" presStyleCnt="0"/>
      <dgm:spPr/>
    </dgm:pt>
    <dgm:pt modelId="{7F9A79E6-10A7-45C5-8044-C49207F6F1A3}" type="pres">
      <dgm:prSet presAssocID="{3B196507-C631-44EC-BA5A-02F4C8631A53}" presName="conn2-1" presStyleLbl="parChTrans1D2" presStyleIdx="0" presStyleCnt="8"/>
      <dgm:spPr/>
    </dgm:pt>
    <dgm:pt modelId="{C164E1ED-1346-4024-BA03-A6349488DD4D}" type="pres">
      <dgm:prSet presAssocID="{3B196507-C631-44EC-BA5A-02F4C8631A53}" presName="connTx" presStyleLbl="parChTrans1D2" presStyleIdx="0" presStyleCnt="8"/>
      <dgm:spPr/>
    </dgm:pt>
    <dgm:pt modelId="{D6A9F683-E1BD-44C1-880D-360C86614810}" type="pres">
      <dgm:prSet presAssocID="{6730403B-03B5-436D-B6F3-82714C145871}" presName="root2" presStyleCnt="0"/>
      <dgm:spPr/>
    </dgm:pt>
    <dgm:pt modelId="{9F517A26-CCB9-473A-9EA9-BE412A2D5D93}" type="pres">
      <dgm:prSet presAssocID="{6730403B-03B5-436D-B6F3-82714C145871}" presName="LevelTwoTextNode" presStyleLbl="node2" presStyleIdx="0" presStyleCnt="8">
        <dgm:presLayoutVars>
          <dgm:chPref val="3"/>
        </dgm:presLayoutVars>
      </dgm:prSet>
      <dgm:spPr/>
    </dgm:pt>
    <dgm:pt modelId="{50E46EE7-BF3B-43AC-856A-AB18BF978C45}" type="pres">
      <dgm:prSet presAssocID="{6730403B-03B5-436D-B6F3-82714C145871}" presName="level3hierChild" presStyleCnt="0"/>
      <dgm:spPr/>
    </dgm:pt>
    <dgm:pt modelId="{34AA2E45-D977-48D6-A8C9-68D472D04787}" type="pres">
      <dgm:prSet presAssocID="{8BEA2FD3-52E3-4F9A-A4B4-EE8BF213B697}" presName="conn2-1" presStyleLbl="parChTrans1D3" presStyleIdx="0" presStyleCnt="6"/>
      <dgm:spPr/>
    </dgm:pt>
    <dgm:pt modelId="{62FC5471-E48C-41DA-84E5-E9FB90674A3A}" type="pres">
      <dgm:prSet presAssocID="{8BEA2FD3-52E3-4F9A-A4B4-EE8BF213B697}" presName="connTx" presStyleLbl="parChTrans1D3" presStyleIdx="0" presStyleCnt="6"/>
      <dgm:spPr/>
    </dgm:pt>
    <dgm:pt modelId="{345347F5-5E01-49FE-92E1-4872EA32B0D2}" type="pres">
      <dgm:prSet presAssocID="{A11A4E87-9189-49B1-B405-A8ADE45C89B2}" presName="root2" presStyleCnt="0"/>
      <dgm:spPr/>
    </dgm:pt>
    <dgm:pt modelId="{1AAC827F-C649-4B0D-9023-1A964D9F89F6}" type="pres">
      <dgm:prSet presAssocID="{A11A4E87-9189-49B1-B405-A8ADE45C89B2}" presName="LevelTwoTextNode" presStyleLbl="node3" presStyleIdx="0" presStyleCnt="6">
        <dgm:presLayoutVars>
          <dgm:chPref val="3"/>
        </dgm:presLayoutVars>
      </dgm:prSet>
      <dgm:spPr/>
    </dgm:pt>
    <dgm:pt modelId="{46BECF33-D3BE-4E4B-BD86-A847400A74F7}" type="pres">
      <dgm:prSet presAssocID="{A11A4E87-9189-49B1-B405-A8ADE45C89B2}" presName="level3hierChild" presStyleCnt="0"/>
      <dgm:spPr/>
    </dgm:pt>
    <dgm:pt modelId="{E730F425-2731-4187-983C-08754F66947F}" type="pres">
      <dgm:prSet presAssocID="{2EA33D63-115A-4CB5-BA7B-3D2B2B2583EC}" presName="conn2-1" presStyleLbl="parChTrans1D3" presStyleIdx="1" presStyleCnt="6"/>
      <dgm:spPr/>
    </dgm:pt>
    <dgm:pt modelId="{132AC275-2453-4AB3-8CE2-9E5D7D700A45}" type="pres">
      <dgm:prSet presAssocID="{2EA33D63-115A-4CB5-BA7B-3D2B2B2583EC}" presName="connTx" presStyleLbl="parChTrans1D3" presStyleIdx="1" presStyleCnt="6"/>
      <dgm:spPr/>
    </dgm:pt>
    <dgm:pt modelId="{8F417A60-BF8B-40EC-94B0-7FF93B7D7ABB}" type="pres">
      <dgm:prSet presAssocID="{328D65C6-24B3-4342-B578-0105DC0A1624}" presName="root2" presStyleCnt="0"/>
      <dgm:spPr/>
    </dgm:pt>
    <dgm:pt modelId="{4F91AB56-4F12-4FC9-AE0B-5FCBC77CBBC5}" type="pres">
      <dgm:prSet presAssocID="{328D65C6-24B3-4342-B578-0105DC0A1624}" presName="LevelTwoTextNode" presStyleLbl="node3" presStyleIdx="1" presStyleCnt="6">
        <dgm:presLayoutVars>
          <dgm:chPref val="3"/>
        </dgm:presLayoutVars>
      </dgm:prSet>
      <dgm:spPr/>
    </dgm:pt>
    <dgm:pt modelId="{4ECAF0AE-A52E-4D62-9238-E229EC2617F2}" type="pres">
      <dgm:prSet presAssocID="{328D65C6-24B3-4342-B578-0105DC0A1624}" presName="level3hierChild" presStyleCnt="0"/>
      <dgm:spPr/>
    </dgm:pt>
    <dgm:pt modelId="{8B3C6AD8-2059-44C2-8612-F69A8240989A}" type="pres">
      <dgm:prSet presAssocID="{E545FD02-FC1D-4617-AEBE-1C222BD99479}" presName="conn2-1" presStyleLbl="parChTrans1D2" presStyleIdx="1" presStyleCnt="8"/>
      <dgm:spPr/>
    </dgm:pt>
    <dgm:pt modelId="{5EE8DD5B-F18B-4ECC-BAAC-6492D7D7EB4C}" type="pres">
      <dgm:prSet presAssocID="{E545FD02-FC1D-4617-AEBE-1C222BD99479}" presName="connTx" presStyleLbl="parChTrans1D2" presStyleIdx="1" presStyleCnt="8"/>
      <dgm:spPr/>
    </dgm:pt>
    <dgm:pt modelId="{11D46E27-F52A-4F4D-A4BC-2C8C8B464EF0}" type="pres">
      <dgm:prSet presAssocID="{978F21A6-1403-4C6A-8431-B5CB30CC7700}" presName="root2" presStyleCnt="0"/>
      <dgm:spPr/>
    </dgm:pt>
    <dgm:pt modelId="{FFB8450F-10F8-49A5-AD14-D87375775CB6}" type="pres">
      <dgm:prSet presAssocID="{978F21A6-1403-4C6A-8431-B5CB30CC7700}" presName="LevelTwoTextNode" presStyleLbl="node2" presStyleIdx="1" presStyleCnt="8">
        <dgm:presLayoutVars>
          <dgm:chPref val="3"/>
        </dgm:presLayoutVars>
      </dgm:prSet>
      <dgm:spPr/>
    </dgm:pt>
    <dgm:pt modelId="{BE09F29A-EF43-4885-BB17-B891C20EC5EB}" type="pres">
      <dgm:prSet presAssocID="{978F21A6-1403-4C6A-8431-B5CB30CC7700}" presName="level3hierChild" presStyleCnt="0"/>
      <dgm:spPr/>
    </dgm:pt>
    <dgm:pt modelId="{8F3184B9-2FBB-40C6-91AA-AF718D8ADFAF}" type="pres">
      <dgm:prSet presAssocID="{30CBC20E-B14A-466B-B3A9-728CD0F0E5FE}" presName="conn2-1" presStyleLbl="parChTrans1D2" presStyleIdx="2" presStyleCnt="8"/>
      <dgm:spPr/>
    </dgm:pt>
    <dgm:pt modelId="{3EE60316-3E47-44DC-801E-46E5D5193B93}" type="pres">
      <dgm:prSet presAssocID="{30CBC20E-B14A-466B-B3A9-728CD0F0E5FE}" presName="connTx" presStyleLbl="parChTrans1D2" presStyleIdx="2" presStyleCnt="8"/>
      <dgm:spPr/>
    </dgm:pt>
    <dgm:pt modelId="{BA5B83BA-0C9D-456A-8859-BD5C77C00E55}" type="pres">
      <dgm:prSet presAssocID="{B0FC32E2-5661-4676-9BF5-C28D2EA7C280}" presName="root2" presStyleCnt="0"/>
      <dgm:spPr/>
    </dgm:pt>
    <dgm:pt modelId="{3A0AA83D-E49C-4589-AF20-44D019E34A7A}" type="pres">
      <dgm:prSet presAssocID="{B0FC32E2-5661-4676-9BF5-C28D2EA7C280}" presName="LevelTwoTextNode" presStyleLbl="node2" presStyleIdx="2" presStyleCnt="8">
        <dgm:presLayoutVars>
          <dgm:chPref val="3"/>
        </dgm:presLayoutVars>
      </dgm:prSet>
      <dgm:spPr/>
    </dgm:pt>
    <dgm:pt modelId="{0F8816A4-8E96-40DA-A3E0-7213B316EE23}" type="pres">
      <dgm:prSet presAssocID="{B0FC32E2-5661-4676-9BF5-C28D2EA7C280}" presName="level3hierChild" presStyleCnt="0"/>
      <dgm:spPr/>
    </dgm:pt>
    <dgm:pt modelId="{A4526C93-67C0-4A07-B574-73A54B1FD534}" type="pres">
      <dgm:prSet presAssocID="{C7C358AC-A680-4966-A92E-EFE54F510014}" presName="conn2-1" presStyleLbl="parChTrans1D2" presStyleIdx="3" presStyleCnt="8"/>
      <dgm:spPr/>
    </dgm:pt>
    <dgm:pt modelId="{4913237E-BA37-4503-A430-86D368D49ECF}" type="pres">
      <dgm:prSet presAssocID="{C7C358AC-A680-4966-A92E-EFE54F510014}" presName="connTx" presStyleLbl="parChTrans1D2" presStyleIdx="3" presStyleCnt="8"/>
      <dgm:spPr/>
    </dgm:pt>
    <dgm:pt modelId="{58EB90BD-3285-4860-A4CE-FFF0117872BB}" type="pres">
      <dgm:prSet presAssocID="{169131C0-C585-496B-82BA-2EFABA1B1479}" presName="root2" presStyleCnt="0"/>
      <dgm:spPr/>
    </dgm:pt>
    <dgm:pt modelId="{CE17D01B-A0BC-4CEA-A24A-F6A727694078}" type="pres">
      <dgm:prSet presAssocID="{169131C0-C585-496B-82BA-2EFABA1B1479}" presName="LevelTwoTextNode" presStyleLbl="node2" presStyleIdx="3" presStyleCnt="8">
        <dgm:presLayoutVars>
          <dgm:chPref val="3"/>
        </dgm:presLayoutVars>
      </dgm:prSet>
      <dgm:spPr/>
    </dgm:pt>
    <dgm:pt modelId="{1F271523-460C-4CF4-A429-E606921B59FC}" type="pres">
      <dgm:prSet presAssocID="{169131C0-C585-496B-82BA-2EFABA1B1479}" presName="level3hierChild" presStyleCnt="0"/>
      <dgm:spPr/>
    </dgm:pt>
    <dgm:pt modelId="{720AF1CA-AF3A-46C0-A415-24B472590C7E}" type="pres">
      <dgm:prSet presAssocID="{63ABB8BD-92E0-47C3-B228-9FD351DA6587}" presName="conn2-1" presStyleLbl="parChTrans1D3" presStyleIdx="2" presStyleCnt="6"/>
      <dgm:spPr/>
    </dgm:pt>
    <dgm:pt modelId="{E0C386BD-DC0F-4A1A-8C6A-495A5D368278}" type="pres">
      <dgm:prSet presAssocID="{63ABB8BD-92E0-47C3-B228-9FD351DA6587}" presName="connTx" presStyleLbl="parChTrans1D3" presStyleIdx="2" presStyleCnt="6"/>
      <dgm:spPr/>
    </dgm:pt>
    <dgm:pt modelId="{FE2DADA5-0B90-4499-A7D5-2A3683146530}" type="pres">
      <dgm:prSet presAssocID="{4A59528F-6F30-4790-8128-AC286FF1253F}" presName="root2" presStyleCnt="0"/>
      <dgm:spPr/>
    </dgm:pt>
    <dgm:pt modelId="{BEE7196F-4FFF-4BF5-93A9-7C99791B7A2D}" type="pres">
      <dgm:prSet presAssocID="{4A59528F-6F30-4790-8128-AC286FF1253F}" presName="LevelTwoTextNode" presStyleLbl="node3" presStyleIdx="2" presStyleCnt="6">
        <dgm:presLayoutVars>
          <dgm:chPref val="3"/>
        </dgm:presLayoutVars>
      </dgm:prSet>
      <dgm:spPr/>
    </dgm:pt>
    <dgm:pt modelId="{6AB4C9AC-BFF2-4466-BB88-F85FFF8AADF7}" type="pres">
      <dgm:prSet presAssocID="{4A59528F-6F30-4790-8128-AC286FF1253F}" presName="level3hierChild" presStyleCnt="0"/>
      <dgm:spPr/>
    </dgm:pt>
    <dgm:pt modelId="{25A2D3E9-51F4-403B-AE90-5EB9897176D3}" type="pres">
      <dgm:prSet presAssocID="{299F58E9-1DE3-489F-9AA1-8FEB34F07CEE}" presName="conn2-1" presStyleLbl="parChTrans1D3" presStyleIdx="3" presStyleCnt="6"/>
      <dgm:spPr/>
    </dgm:pt>
    <dgm:pt modelId="{E261B082-5C8F-43F1-8478-BA313A7C7406}" type="pres">
      <dgm:prSet presAssocID="{299F58E9-1DE3-489F-9AA1-8FEB34F07CEE}" presName="connTx" presStyleLbl="parChTrans1D3" presStyleIdx="3" presStyleCnt="6"/>
      <dgm:spPr/>
    </dgm:pt>
    <dgm:pt modelId="{0DA7BFB6-69D0-45D9-BBF4-B622244A0193}" type="pres">
      <dgm:prSet presAssocID="{105CBE3F-23DA-4B5F-98EC-13ED7DE0C92A}" presName="root2" presStyleCnt="0"/>
      <dgm:spPr/>
    </dgm:pt>
    <dgm:pt modelId="{1C911E8F-5D18-4BC2-BA16-74479965C24A}" type="pres">
      <dgm:prSet presAssocID="{105CBE3F-23DA-4B5F-98EC-13ED7DE0C92A}" presName="LevelTwoTextNode" presStyleLbl="node3" presStyleIdx="3" presStyleCnt="6">
        <dgm:presLayoutVars>
          <dgm:chPref val="3"/>
        </dgm:presLayoutVars>
      </dgm:prSet>
      <dgm:spPr/>
    </dgm:pt>
    <dgm:pt modelId="{F2A9FBF7-8710-43F9-BBC3-BF237A336A54}" type="pres">
      <dgm:prSet presAssocID="{105CBE3F-23DA-4B5F-98EC-13ED7DE0C92A}" presName="level3hierChild" presStyleCnt="0"/>
      <dgm:spPr/>
    </dgm:pt>
    <dgm:pt modelId="{2533D854-F1C4-45DE-B6D2-BCE1D50402E4}" type="pres">
      <dgm:prSet presAssocID="{F89BB3D2-812A-4267-8B3F-C22FB76B382A}" presName="conn2-1" presStyleLbl="parChTrans1D2" presStyleIdx="4" presStyleCnt="8"/>
      <dgm:spPr/>
    </dgm:pt>
    <dgm:pt modelId="{B6B517D6-316B-4FEA-AB41-28A05CB7FAD0}" type="pres">
      <dgm:prSet presAssocID="{F89BB3D2-812A-4267-8B3F-C22FB76B382A}" presName="connTx" presStyleLbl="parChTrans1D2" presStyleIdx="4" presStyleCnt="8"/>
      <dgm:spPr/>
    </dgm:pt>
    <dgm:pt modelId="{9FB2AD5E-B004-4782-8DA7-3FC0EC0E8EAF}" type="pres">
      <dgm:prSet presAssocID="{484677A8-4A46-4076-99B2-C8DCE25E93B7}" presName="root2" presStyleCnt="0"/>
      <dgm:spPr/>
    </dgm:pt>
    <dgm:pt modelId="{DB33BA45-4DD2-4E60-9A30-936E11BF094B}" type="pres">
      <dgm:prSet presAssocID="{484677A8-4A46-4076-99B2-C8DCE25E93B7}" presName="LevelTwoTextNode" presStyleLbl="node2" presStyleIdx="4" presStyleCnt="8">
        <dgm:presLayoutVars>
          <dgm:chPref val="3"/>
        </dgm:presLayoutVars>
      </dgm:prSet>
      <dgm:spPr/>
    </dgm:pt>
    <dgm:pt modelId="{C1E94B65-9EC3-43C7-8B18-D84D2E2243BE}" type="pres">
      <dgm:prSet presAssocID="{484677A8-4A46-4076-99B2-C8DCE25E93B7}" presName="level3hierChild" presStyleCnt="0"/>
      <dgm:spPr/>
    </dgm:pt>
    <dgm:pt modelId="{2826DC40-8624-4687-9D81-645AF381DD04}" type="pres">
      <dgm:prSet presAssocID="{A21A9CBF-E59F-4232-A9F7-B2D7CC2D3388}" presName="conn2-1" presStyleLbl="parChTrans1D2" presStyleIdx="5" presStyleCnt="8"/>
      <dgm:spPr/>
    </dgm:pt>
    <dgm:pt modelId="{EE493C54-CDA0-4B74-8DAC-B6D13D8F21D5}" type="pres">
      <dgm:prSet presAssocID="{A21A9CBF-E59F-4232-A9F7-B2D7CC2D3388}" presName="connTx" presStyleLbl="parChTrans1D2" presStyleIdx="5" presStyleCnt="8"/>
      <dgm:spPr/>
    </dgm:pt>
    <dgm:pt modelId="{A52DF160-5677-469D-A5FD-102B50683A1B}" type="pres">
      <dgm:prSet presAssocID="{0B13C894-EB35-44A4-A03D-EA7EF6D20511}" presName="root2" presStyleCnt="0"/>
      <dgm:spPr/>
    </dgm:pt>
    <dgm:pt modelId="{E0F5FDFE-244D-436A-8DDB-7CA6B22387C6}" type="pres">
      <dgm:prSet presAssocID="{0B13C894-EB35-44A4-A03D-EA7EF6D20511}" presName="LevelTwoTextNode" presStyleLbl="node2" presStyleIdx="5" presStyleCnt="8">
        <dgm:presLayoutVars>
          <dgm:chPref val="3"/>
        </dgm:presLayoutVars>
      </dgm:prSet>
      <dgm:spPr/>
    </dgm:pt>
    <dgm:pt modelId="{02E44742-417C-4BFA-B2C0-2C76522C7F9A}" type="pres">
      <dgm:prSet presAssocID="{0B13C894-EB35-44A4-A03D-EA7EF6D20511}" presName="level3hierChild" presStyleCnt="0"/>
      <dgm:spPr/>
    </dgm:pt>
    <dgm:pt modelId="{77A1FBF3-3DCF-4057-BC82-C57950E7D81C}" type="pres">
      <dgm:prSet presAssocID="{D6A0A1CB-FA13-4497-940A-997B2BB3B01C}" presName="conn2-1" presStyleLbl="parChTrans1D2" presStyleIdx="6" presStyleCnt="8"/>
      <dgm:spPr/>
    </dgm:pt>
    <dgm:pt modelId="{4C3FA2BF-CCA9-485B-9FF0-6D597E1736E7}" type="pres">
      <dgm:prSet presAssocID="{D6A0A1CB-FA13-4497-940A-997B2BB3B01C}" presName="connTx" presStyleLbl="parChTrans1D2" presStyleIdx="6" presStyleCnt="8"/>
      <dgm:spPr/>
    </dgm:pt>
    <dgm:pt modelId="{E777A474-C1A7-4972-9615-19B13C1A37A1}" type="pres">
      <dgm:prSet presAssocID="{86E59DDD-D9ED-4B4A-95E8-2FA2E78F9E9E}" presName="root2" presStyleCnt="0"/>
      <dgm:spPr/>
    </dgm:pt>
    <dgm:pt modelId="{E267A4A9-CD7B-49CD-A011-30D14BDA8A84}" type="pres">
      <dgm:prSet presAssocID="{86E59DDD-D9ED-4B4A-95E8-2FA2E78F9E9E}" presName="LevelTwoTextNode" presStyleLbl="node2" presStyleIdx="6" presStyleCnt="8">
        <dgm:presLayoutVars>
          <dgm:chPref val="3"/>
        </dgm:presLayoutVars>
      </dgm:prSet>
      <dgm:spPr/>
    </dgm:pt>
    <dgm:pt modelId="{7795EEA9-4C15-46C6-AE3E-8F63068A4D8B}" type="pres">
      <dgm:prSet presAssocID="{86E59DDD-D9ED-4B4A-95E8-2FA2E78F9E9E}" presName="level3hierChild" presStyleCnt="0"/>
      <dgm:spPr/>
    </dgm:pt>
    <dgm:pt modelId="{1FB55C85-32DF-41AC-B096-30CE08166C94}" type="pres">
      <dgm:prSet presAssocID="{98782756-A8DD-4B99-8163-BE0EEAEB84C6}" presName="conn2-1" presStyleLbl="parChTrans1D3" presStyleIdx="4" presStyleCnt="6"/>
      <dgm:spPr/>
    </dgm:pt>
    <dgm:pt modelId="{E4D184B8-5C9C-4943-A810-36F67F93F467}" type="pres">
      <dgm:prSet presAssocID="{98782756-A8DD-4B99-8163-BE0EEAEB84C6}" presName="connTx" presStyleLbl="parChTrans1D3" presStyleIdx="4" presStyleCnt="6"/>
      <dgm:spPr/>
    </dgm:pt>
    <dgm:pt modelId="{834361FE-8A69-4E99-8371-4E7018947289}" type="pres">
      <dgm:prSet presAssocID="{8FFF5B69-CB6A-419E-8F49-ECA006D5B129}" presName="root2" presStyleCnt="0"/>
      <dgm:spPr/>
    </dgm:pt>
    <dgm:pt modelId="{08D2E524-0B19-4990-ADCF-46E9AD2DCD3C}" type="pres">
      <dgm:prSet presAssocID="{8FFF5B69-CB6A-419E-8F49-ECA006D5B129}" presName="LevelTwoTextNode" presStyleLbl="node3" presStyleIdx="4" presStyleCnt="6">
        <dgm:presLayoutVars>
          <dgm:chPref val="3"/>
        </dgm:presLayoutVars>
      </dgm:prSet>
      <dgm:spPr/>
    </dgm:pt>
    <dgm:pt modelId="{6416697C-9796-4ACB-B249-0D9E5896F482}" type="pres">
      <dgm:prSet presAssocID="{8FFF5B69-CB6A-419E-8F49-ECA006D5B129}" presName="level3hierChild" presStyleCnt="0"/>
      <dgm:spPr/>
    </dgm:pt>
    <dgm:pt modelId="{219EAEAB-5D4B-4058-9BE7-1963E32CD697}" type="pres">
      <dgm:prSet presAssocID="{AA6C7223-E4F6-43DA-B0B8-1B1C37DDEE12}" presName="conn2-1" presStyleLbl="parChTrans1D3" presStyleIdx="5" presStyleCnt="6"/>
      <dgm:spPr/>
    </dgm:pt>
    <dgm:pt modelId="{89493CC0-BADB-4B49-945F-17AB781A8A66}" type="pres">
      <dgm:prSet presAssocID="{AA6C7223-E4F6-43DA-B0B8-1B1C37DDEE12}" presName="connTx" presStyleLbl="parChTrans1D3" presStyleIdx="5" presStyleCnt="6"/>
      <dgm:spPr/>
    </dgm:pt>
    <dgm:pt modelId="{42C534EC-F793-4594-8158-E32A615DF8CE}" type="pres">
      <dgm:prSet presAssocID="{B91B4D12-D2BE-4C09-B9A5-3CFF4005F72E}" presName="root2" presStyleCnt="0"/>
      <dgm:spPr/>
    </dgm:pt>
    <dgm:pt modelId="{3607A185-DDDB-4135-AE2B-030332CA9882}" type="pres">
      <dgm:prSet presAssocID="{B91B4D12-D2BE-4C09-B9A5-3CFF4005F72E}" presName="LevelTwoTextNode" presStyleLbl="node3" presStyleIdx="5" presStyleCnt="6">
        <dgm:presLayoutVars>
          <dgm:chPref val="3"/>
        </dgm:presLayoutVars>
      </dgm:prSet>
      <dgm:spPr/>
    </dgm:pt>
    <dgm:pt modelId="{1B8D3822-AAD2-4BBE-925F-AA462333E7A9}" type="pres">
      <dgm:prSet presAssocID="{B91B4D12-D2BE-4C09-B9A5-3CFF4005F72E}" presName="level3hierChild" presStyleCnt="0"/>
      <dgm:spPr/>
    </dgm:pt>
    <dgm:pt modelId="{6EC119CE-B955-43BD-A705-4B583672F859}" type="pres">
      <dgm:prSet presAssocID="{24A577C2-8C11-4E33-9F26-E8D786626335}" presName="conn2-1" presStyleLbl="parChTrans1D2" presStyleIdx="7" presStyleCnt="8"/>
      <dgm:spPr/>
    </dgm:pt>
    <dgm:pt modelId="{E1E17DB4-3749-4FDC-9A5D-59B6161A10F6}" type="pres">
      <dgm:prSet presAssocID="{24A577C2-8C11-4E33-9F26-E8D786626335}" presName="connTx" presStyleLbl="parChTrans1D2" presStyleIdx="7" presStyleCnt="8"/>
      <dgm:spPr/>
    </dgm:pt>
    <dgm:pt modelId="{D08C6241-AB47-4568-AFAC-A98887AB7197}" type="pres">
      <dgm:prSet presAssocID="{6A69CD48-0844-42DC-B294-FB90DD2F7D76}" presName="root2" presStyleCnt="0"/>
      <dgm:spPr/>
    </dgm:pt>
    <dgm:pt modelId="{05BCE626-CC17-42B6-BFEF-35A5F7E6AE52}" type="pres">
      <dgm:prSet presAssocID="{6A69CD48-0844-42DC-B294-FB90DD2F7D76}" presName="LevelTwoTextNode" presStyleLbl="node2" presStyleIdx="7" presStyleCnt="8">
        <dgm:presLayoutVars>
          <dgm:chPref val="3"/>
        </dgm:presLayoutVars>
      </dgm:prSet>
      <dgm:spPr/>
    </dgm:pt>
    <dgm:pt modelId="{0356DC78-233A-49B3-8139-E7C98A78BD0A}" type="pres">
      <dgm:prSet presAssocID="{6A69CD48-0844-42DC-B294-FB90DD2F7D76}" presName="level3hierChild" presStyleCnt="0"/>
      <dgm:spPr/>
    </dgm:pt>
  </dgm:ptLst>
  <dgm:cxnLst>
    <dgm:cxn modelId="{FC207402-2588-43EF-94B2-298D170D2D91}" srcId="{496ABA3A-FA04-4560-B9A4-7A5F3D82FC02}" destId="{6A69CD48-0844-42DC-B294-FB90DD2F7D76}" srcOrd="7" destOrd="0" parTransId="{24A577C2-8C11-4E33-9F26-E8D786626335}" sibTransId="{1188690D-75F3-40CD-84E3-D9496A215D98}"/>
    <dgm:cxn modelId="{0042B702-8579-4AA7-9F0E-6F278E191C75}" srcId="{496ABA3A-FA04-4560-B9A4-7A5F3D82FC02}" destId="{86E59DDD-D9ED-4B4A-95E8-2FA2E78F9E9E}" srcOrd="6" destOrd="0" parTransId="{D6A0A1CB-FA13-4497-940A-997B2BB3B01C}" sibTransId="{54F7CA0E-F80E-4812-BBBD-9176D78088E7}"/>
    <dgm:cxn modelId="{1EFAD605-036E-4DE3-BA45-8A6D64400E40}" type="presOf" srcId="{30CBC20E-B14A-466B-B3A9-728CD0F0E5FE}" destId="{8F3184B9-2FBB-40C6-91AA-AF718D8ADFAF}" srcOrd="0" destOrd="0" presId="urn:microsoft.com/office/officeart/2008/layout/HorizontalMultiLevelHierarchy"/>
    <dgm:cxn modelId="{50FD260B-58B7-4D93-9E92-F28AA2F15B0D}" type="presOf" srcId="{496ABA3A-FA04-4560-B9A4-7A5F3D82FC02}" destId="{3FA77CE1-0DC7-442D-BF4A-22C6AFCC2A2F}" srcOrd="0" destOrd="0" presId="urn:microsoft.com/office/officeart/2008/layout/HorizontalMultiLevelHierarchy"/>
    <dgm:cxn modelId="{557E9C13-A1BC-4AF5-9E2D-0E28F703964B}" type="presOf" srcId="{6A69CD48-0844-42DC-B294-FB90DD2F7D76}" destId="{05BCE626-CC17-42B6-BFEF-35A5F7E6AE52}" srcOrd="0" destOrd="0" presId="urn:microsoft.com/office/officeart/2008/layout/HorizontalMultiLevelHierarchy"/>
    <dgm:cxn modelId="{98196814-361A-452D-A583-227BFB6C23AA}" type="presOf" srcId="{299F58E9-1DE3-489F-9AA1-8FEB34F07CEE}" destId="{E261B082-5C8F-43F1-8478-BA313A7C7406}" srcOrd="1" destOrd="0" presId="urn:microsoft.com/office/officeart/2008/layout/HorizontalMultiLevelHierarchy"/>
    <dgm:cxn modelId="{484EA518-6D78-4413-A190-9B6903167665}" srcId="{496ABA3A-FA04-4560-B9A4-7A5F3D82FC02}" destId="{0B13C894-EB35-44A4-A03D-EA7EF6D20511}" srcOrd="5" destOrd="0" parTransId="{A21A9CBF-E59F-4232-A9F7-B2D7CC2D3388}" sibTransId="{AA5E60FB-B571-4FB0-B361-6CEBA44AACB2}"/>
    <dgm:cxn modelId="{3EE8E91B-4F2D-49DC-96BC-1706A2114D60}" srcId="{496ABA3A-FA04-4560-B9A4-7A5F3D82FC02}" destId="{6730403B-03B5-436D-B6F3-82714C145871}" srcOrd="0" destOrd="0" parTransId="{3B196507-C631-44EC-BA5A-02F4C8631A53}" sibTransId="{DAFA5204-8F1C-41F7-852B-EBE8F2A5F826}"/>
    <dgm:cxn modelId="{FB43F61F-E1AB-40A1-A2A8-1203710295A2}" srcId="{496ABA3A-FA04-4560-B9A4-7A5F3D82FC02}" destId="{978F21A6-1403-4C6A-8431-B5CB30CC7700}" srcOrd="1" destOrd="0" parTransId="{E545FD02-FC1D-4617-AEBE-1C222BD99479}" sibTransId="{4E1B67D5-F3AE-4FFA-A789-02248B77BEC9}"/>
    <dgm:cxn modelId="{F3570820-0B42-443A-87E5-EB7E8D4B5D49}" type="presOf" srcId="{AA6C7223-E4F6-43DA-B0B8-1B1C37DDEE12}" destId="{89493CC0-BADB-4B49-945F-17AB781A8A66}" srcOrd="1" destOrd="0" presId="urn:microsoft.com/office/officeart/2008/layout/HorizontalMultiLevelHierarchy"/>
    <dgm:cxn modelId="{DBCC9A22-4BAB-4CCF-A60D-0CE02D436D2D}" type="presOf" srcId="{484677A8-4A46-4076-99B2-C8DCE25E93B7}" destId="{DB33BA45-4DD2-4E60-9A30-936E11BF094B}" srcOrd="0" destOrd="0" presId="urn:microsoft.com/office/officeart/2008/layout/HorizontalMultiLevelHierarchy"/>
    <dgm:cxn modelId="{47C12228-C18A-4C5C-B6B8-E94D3A9C9FB3}" type="presOf" srcId="{86E59DDD-D9ED-4B4A-95E8-2FA2E78F9E9E}" destId="{E267A4A9-CD7B-49CD-A011-30D14BDA8A84}" srcOrd="0" destOrd="0" presId="urn:microsoft.com/office/officeart/2008/layout/HorizontalMultiLevelHierarchy"/>
    <dgm:cxn modelId="{5746052B-6F22-493D-BAC2-35F6A341F2C5}" srcId="{169131C0-C585-496B-82BA-2EFABA1B1479}" destId="{4A59528F-6F30-4790-8128-AC286FF1253F}" srcOrd="0" destOrd="0" parTransId="{63ABB8BD-92E0-47C3-B228-9FD351DA6587}" sibTransId="{8FD621C9-24F1-4A1A-876F-7AB0CE40B0D0}"/>
    <dgm:cxn modelId="{8A568434-E6D3-4879-97A8-2715D801F615}" type="presOf" srcId="{B0FC32E2-5661-4676-9BF5-C28D2EA7C280}" destId="{3A0AA83D-E49C-4589-AF20-44D019E34A7A}" srcOrd="0" destOrd="0" presId="urn:microsoft.com/office/officeart/2008/layout/HorizontalMultiLevelHierarchy"/>
    <dgm:cxn modelId="{C2E52038-AF25-4FE1-82A5-B57943872CCF}" type="presOf" srcId="{A11A4E87-9189-49B1-B405-A8ADE45C89B2}" destId="{1AAC827F-C649-4B0D-9023-1A964D9F89F6}" srcOrd="0" destOrd="0" presId="urn:microsoft.com/office/officeart/2008/layout/HorizontalMultiLevelHierarchy"/>
    <dgm:cxn modelId="{00233338-F222-4218-A69B-371E11081F55}" type="presOf" srcId="{98782756-A8DD-4B99-8163-BE0EEAEB84C6}" destId="{1FB55C85-32DF-41AC-B096-30CE08166C94}" srcOrd="0" destOrd="0" presId="urn:microsoft.com/office/officeart/2008/layout/HorizontalMultiLevelHierarchy"/>
    <dgm:cxn modelId="{380C5D38-9D5C-4BC9-B362-30A9A863D9A8}" type="presOf" srcId="{D6A0A1CB-FA13-4497-940A-997B2BB3B01C}" destId="{4C3FA2BF-CCA9-485B-9FF0-6D597E1736E7}" srcOrd="1" destOrd="0" presId="urn:microsoft.com/office/officeart/2008/layout/HorizontalMultiLevelHierarchy"/>
    <dgm:cxn modelId="{5267643A-9ADA-4798-9B76-966193B456DE}" srcId="{86E59DDD-D9ED-4B4A-95E8-2FA2E78F9E9E}" destId="{8FFF5B69-CB6A-419E-8F49-ECA006D5B129}" srcOrd="0" destOrd="0" parTransId="{98782756-A8DD-4B99-8163-BE0EEAEB84C6}" sibTransId="{087E5D12-9C3E-4CA7-A1FB-E8A9DC61DEB2}"/>
    <dgm:cxn modelId="{F8001F47-0D4D-469B-9FDB-C5AC69BA4F50}" srcId="{AF0D5445-E0E1-4E02-82DE-3B48ECAE2FD9}" destId="{496ABA3A-FA04-4560-B9A4-7A5F3D82FC02}" srcOrd="0" destOrd="0" parTransId="{F34080C7-F5D1-4340-B145-6DA4BBE6468A}" sibTransId="{589344A8-1B71-40B1-B1F0-FD4320DAF9A2}"/>
    <dgm:cxn modelId="{BBE5A46B-9A31-41ED-BD52-FF9AB5AB6923}" type="presOf" srcId="{6730403B-03B5-436D-B6F3-82714C145871}" destId="{9F517A26-CCB9-473A-9EA9-BE412A2D5D93}" srcOrd="0" destOrd="0" presId="urn:microsoft.com/office/officeart/2008/layout/HorizontalMultiLevelHierarchy"/>
    <dgm:cxn modelId="{7C32396C-9AE1-45DF-95F5-52D6CFDC261A}" type="presOf" srcId="{0B13C894-EB35-44A4-A03D-EA7EF6D20511}" destId="{E0F5FDFE-244D-436A-8DDB-7CA6B22387C6}" srcOrd="0" destOrd="0" presId="urn:microsoft.com/office/officeart/2008/layout/HorizontalMultiLevelHierarchy"/>
    <dgm:cxn modelId="{F2931C4D-60F7-4D78-A780-C30876CAE490}" type="presOf" srcId="{8BEA2FD3-52E3-4F9A-A4B4-EE8BF213B697}" destId="{34AA2E45-D977-48D6-A8C9-68D472D04787}" srcOrd="0" destOrd="0" presId="urn:microsoft.com/office/officeart/2008/layout/HorizontalMultiLevelHierarchy"/>
    <dgm:cxn modelId="{01F76850-E3C7-4019-A657-DE21D5EF02FF}" type="presOf" srcId="{F89BB3D2-812A-4267-8B3F-C22FB76B382A}" destId="{2533D854-F1C4-45DE-B6D2-BCE1D50402E4}" srcOrd="0" destOrd="0" presId="urn:microsoft.com/office/officeart/2008/layout/HorizontalMultiLevelHierarchy"/>
    <dgm:cxn modelId="{5006B670-CF13-4D65-9179-05A43C581C1C}" type="presOf" srcId="{C7C358AC-A680-4966-A92E-EFE54F510014}" destId="{4913237E-BA37-4503-A430-86D368D49ECF}" srcOrd="1" destOrd="0" presId="urn:microsoft.com/office/officeart/2008/layout/HorizontalMultiLevelHierarchy"/>
    <dgm:cxn modelId="{2E04E471-9128-4E0C-BCE5-93AD7B290C32}" type="presOf" srcId="{2EA33D63-115A-4CB5-BA7B-3D2B2B2583EC}" destId="{E730F425-2731-4187-983C-08754F66947F}" srcOrd="0" destOrd="0" presId="urn:microsoft.com/office/officeart/2008/layout/HorizontalMultiLevelHierarchy"/>
    <dgm:cxn modelId="{DFB81973-AFCC-4D48-BDBA-1B5FD33D8152}" type="presOf" srcId="{F89BB3D2-812A-4267-8B3F-C22FB76B382A}" destId="{B6B517D6-316B-4FEA-AB41-28A05CB7FAD0}" srcOrd="1" destOrd="0" presId="urn:microsoft.com/office/officeart/2008/layout/HorizontalMultiLevelHierarchy"/>
    <dgm:cxn modelId="{6C4DB573-2D15-4884-9B11-DFBD167EFE15}" type="presOf" srcId="{978F21A6-1403-4C6A-8431-B5CB30CC7700}" destId="{FFB8450F-10F8-49A5-AD14-D87375775CB6}" srcOrd="0" destOrd="0" presId="urn:microsoft.com/office/officeart/2008/layout/HorizontalMultiLevelHierarchy"/>
    <dgm:cxn modelId="{59DED173-7F08-4F4B-A614-0B4F14626A4D}" type="presOf" srcId="{4A59528F-6F30-4790-8128-AC286FF1253F}" destId="{BEE7196F-4FFF-4BF5-93A9-7C99791B7A2D}" srcOrd="0" destOrd="0" presId="urn:microsoft.com/office/officeart/2008/layout/HorizontalMultiLevelHierarchy"/>
    <dgm:cxn modelId="{259B2759-3FCD-4F8E-AC9E-98942A7E6B2F}" srcId="{86E59DDD-D9ED-4B4A-95E8-2FA2E78F9E9E}" destId="{B91B4D12-D2BE-4C09-B9A5-3CFF4005F72E}" srcOrd="1" destOrd="0" parTransId="{AA6C7223-E4F6-43DA-B0B8-1B1C37DDEE12}" sibTransId="{B2B0C536-B7C9-41E4-802D-263B83545AF1}"/>
    <dgm:cxn modelId="{677F4659-851C-466A-B591-680253055894}" type="presOf" srcId="{8BEA2FD3-52E3-4F9A-A4B4-EE8BF213B697}" destId="{62FC5471-E48C-41DA-84E5-E9FB90674A3A}" srcOrd="1" destOrd="0" presId="urn:microsoft.com/office/officeart/2008/layout/HorizontalMultiLevelHierarchy"/>
    <dgm:cxn modelId="{608A457D-1036-4B70-A965-3A87E1D838DD}" srcId="{6730403B-03B5-436D-B6F3-82714C145871}" destId="{A11A4E87-9189-49B1-B405-A8ADE45C89B2}" srcOrd="0" destOrd="0" parTransId="{8BEA2FD3-52E3-4F9A-A4B4-EE8BF213B697}" sibTransId="{AD850C57-357F-4CC8-A928-941D25FA76CD}"/>
    <dgm:cxn modelId="{F8C2FB7D-1ED7-47D1-A78C-E5AAECC43030}" srcId="{496ABA3A-FA04-4560-B9A4-7A5F3D82FC02}" destId="{169131C0-C585-496B-82BA-2EFABA1B1479}" srcOrd="3" destOrd="0" parTransId="{C7C358AC-A680-4966-A92E-EFE54F510014}" sibTransId="{246CCDCE-4A33-45E6-BCC5-8BF039162D1D}"/>
    <dgm:cxn modelId="{7D7EE781-360F-4340-A48B-E1CC753E9D4C}" type="presOf" srcId="{D6A0A1CB-FA13-4497-940A-997B2BB3B01C}" destId="{77A1FBF3-3DCF-4057-BC82-C57950E7D81C}" srcOrd="0" destOrd="0" presId="urn:microsoft.com/office/officeart/2008/layout/HorizontalMultiLevelHierarchy"/>
    <dgm:cxn modelId="{C78C6385-37EB-4A00-B2B8-D433C340A619}" type="presOf" srcId="{105CBE3F-23DA-4B5F-98EC-13ED7DE0C92A}" destId="{1C911E8F-5D18-4BC2-BA16-74479965C24A}" srcOrd="0" destOrd="0" presId="urn:microsoft.com/office/officeart/2008/layout/HorizontalMultiLevelHierarchy"/>
    <dgm:cxn modelId="{F4E2138A-47E9-42FA-B511-B8CBB39942CD}" type="presOf" srcId="{AA6C7223-E4F6-43DA-B0B8-1B1C37DDEE12}" destId="{219EAEAB-5D4B-4058-9BE7-1963E32CD697}" srcOrd="0" destOrd="0" presId="urn:microsoft.com/office/officeart/2008/layout/HorizontalMultiLevelHierarchy"/>
    <dgm:cxn modelId="{DE2ADC8C-7728-4398-90DE-5ACB26C0D2A9}" srcId="{496ABA3A-FA04-4560-B9A4-7A5F3D82FC02}" destId="{484677A8-4A46-4076-99B2-C8DCE25E93B7}" srcOrd="4" destOrd="0" parTransId="{F89BB3D2-812A-4267-8B3F-C22FB76B382A}" sibTransId="{766E07B1-4C2A-4F56-8238-716CB87B4F4C}"/>
    <dgm:cxn modelId="{7F00DF8C-3776-4DD0-A513-63170BA08821}" type="presOf" srcId="{169131C0-C585-496B-82BA-2EFABA1B1479}" destId="{CE17D01B-A0BC-4CEA-A24A-F6A727694078}" srcOrd="0" destOrd="0" presId="urn:microsoft.com/office/officeart/2008/layout/HorizontalMultiLevelHierarchy"/>
    <dgm:cxn modelId="{63D91E8E-E73B-4563-ADF4-17CFCF9E36BE}" type="presOf" srcId="{24A577C2-8C11-4E33-9F26-E8D786626335}" destId="{6EC119CE-B955-43BD-A705-4B583672F859}" srcOrd="0" destOrd="0" presId="urn:microsoft.com/office/officeart/2008/layout/HorizontalMultiLevelHierarchy"/>
    <dgm:cxn modelId="{6CF59195-5DE8-4B80-98B9-DE26D0685F17}" type="presOf" srcId="{AF0D5445-E0E1-4E02-82DE-3B48ECAE2FD9}" destId="{7D8A1501-A2F2-4927-85D4-1776D3D281EF}" srcOrd="0" destOrd="0" presId="urn:microsoft.com/office/officeart/2008/layout/HorizontalMultiLevelHierarchy"/>
    <dgm:cxn modelId="{1ADD4796-E5C2-4B4C-ACA0-6A99463E421B}" type="presOf" srcId="{63ABB8BD-92E0-47C3-B228-9FD351DA6587}" destId="{720AF1CA-AF3A-46C0-A415-24B472590C7E}" srcOrd="0" destOrd="0" presId="urn:microsoft.com/office/officeart/2008/layout/HorizontalMultiLevelHierarchy"/>
    <dgm:cxn modelId="{D9A6FE97-E8EE-414B-9E22-261F6DB30E4A}" srcId="{169131C0-C585-496B-82BA-2EFABA1B1479}" destId="{105CBE3F-23DA-4B5F-98EC-13ED7DE0C92A}" srcOrd="1" destOrd="0" parTransId="{299F58E9-1DE3-489F-9AA1-8FEB34F07CEE}" sibTransId="{50E7E190-E993-4757-9404-99323F651577}"/>
    <dgm:cxn modelId="{2A769A99-2D88-4BC5-B3EF-1816D123297B}" type="presOf" srcId="{E545FD02-FC1D-4617-AEBE-1C222BD99479}" destId="{5EE8DD5B-F18B-4ECC-BAAC-6492D7D7EB4C}" srcOrd="1" destOrd="0" presId="urn:microsoft.com/office/officeart/2008/layout/HorizontalMultiLevelHierarchy"/>
    <dgm:cxn modelId="{3314189A-8184-41E0-85B2-04E5DC1D61DC}" type="presOf" srcId="{E545FD02-FC1D-4617-AEBE-1C222BD99479}" destId="{8B3C6AD8-2059-44C2-8612-F69A8240989A}" srcOrd="0" destOrd="0" presId="urn:microsoft.com/office/officeart/2008/layout/HorizontalMultiLevelHierarchy"/>
    <dgm:cxn modelId="{E7AA409B-C85A-44FC-86DD-FAA79B4D4F4C}" srcId="{6730403B-03B5-436D-B6F3-82714C145871}" destId="{328D65C6-24B3-4342-B578-0105DC0A1624}" srcOrd="1" destOrd="0" parTransId="{2EA33D63-115A-4CB5-BA7B-3D2B2B2583EC}" sibTransId="{1983D8D5-C8DF-4270-8DAE-8F664206B392}"/>
    <dgm:cxn modelId="{09C5359E-64C9-4CB0-AEDB-22B728C46644}" type="presOf" srcId="{299F58E9-1DE3-489F-9AA1-8FEB34F07CEE}" destId="{25A2D3E9-51F4-403B-AE90-5EB9897176D3}" srcOrd="0" destOrd="0" presId="urn:microsoft.com/office/officeart/2008/layout/HorizontalMultiLevelHierarchy"/>
    <dgm:cxn modelId="{21876CBE-B118-4799-A133-52290E81C77B}" type="presOf" srcId="{63ABB8BD-92E0-47C3-B228-9FD351DA6587}" destId="{E0C386BD-DC0F-4A1A-8C6A-495A5D368278}" srcOrd="1" destOrd="0" presId="urn:microsoft.com/office/officeart/2008/layout/HorizontalMultiLevelHierarchy"/>
    <dgm:cxn modelId="{6771F6BF-193B-4425-AF5C-9F945089AF88}" type="presOf" srcId="{C7C358AC-A680-4966-A92E-EFE54F510014}" destId="{A4526C93-67C0-4A07-B574-73A54B1FD534}" srcOrd="0" destOrd="0" presId="urn:microsoft.com/office/officeart/2008/layout/HorizontalMultiLevelHierarchy"/>
    <dgm:cxn modelId="{628295C6-5C97-4206-B328-5FD19B3E0F1C}" type="presOf" srcId="{A21A9CBF-E59F-4232-A9F7-B2D7CC2D3388}" destId="{EE493C54-CDA0-4B74-8DAC-B6D13D8F21D5}" srcOrd="1" destOrd="0" presId="urn:microsoft.com/office/officeart/2008/layout/HorizontalMultiLevelHierarchy"/>
    <dgm:cxn modelId="{94978ACD-FEBC-4085-91A9-7CD9AB8B5FAE}" type="presOf" srcId="{30CBC20E-B14A-466B-B3A9-728CD0F0E5FE}" destId="{3EE60316-3E47-44DC-801E-46E5D5193B93}" srcOrd="1" destOrd="0" presId="urn:microsoft.com/office/officeart/2008/layout/HorizontalMultiLevelHierarchy"/>
    <dgm:cxn modelId="{04C659DB-1C73-43A0-82A1-82232C9A79D0}" type="presOf" srcId="{B91B4D12-D2BE-4C09-B9A5-3CFF4005F72E}" destId="{3607A185-DDDB-4135-AE2B-030332CA9882}" srcOrd="0" destOrd="0" presId="urn:microsoft.com/office/officeart/2008/layout/HorizontalMultiLevelHierarchy"/>
    <dgm:cxn modelId="{A68EC6DF-2343-46EB-B975-684B8E2E831C}" type="presOf" srcId="{3B196507-C631-44EC-BA5A-02F4C8631A53}" destId="{C164E1ED-1346-4024-BA03-A6349488DD4D}" srcOrd="1" destOrd="0" presId="urn:microsoft.com/office/officeart/2008/layout/HorizontalMultiLevelHierarchy"/>
    <dgm:cxn modelId="{9C9323E0-A9F0-477B-9DEE-CEA209F16E8E}" type="presOf" srcId="{24A577C2-8C11-4E33-9F26-E8D786626335}" destId="{E1E17DB4-3749-4FDC-9A5D-59B6161A10F6}" srcOrd="1" destOrd="0" presId="urn:microsoft.com/office/officeart/2008/layout/HorizontalMultiLevelHierarchy"/>
    <dgm:cxn modelId="{6FDB4FE0-DED8-4D6F-B499-4EA1904AC90D}" type="presOf" srcId="{8FFF5B69-CB6A-419E-8F49-ECA006D5B129}" destId="{08D2E524-0B19-4990-ADCF-46E9AD2DCD3C}" srcOrd="0" destOrd="0" presId="urn:microsoft.com/office/officeart/2008/layout/HorizontalMultiLevelHierarchy"/>
    <dgm:cxn modelId="{0EDEAEE8-381A-4786-AF0B-7F1EA7BD18A0}" type="presOf" srcId="{3B196507-C631-44EC-BA5A-02F4C8631A53}" destId="{7F9A79E6-10A7-45C5-8044-C49207F6F1A3}" srcOrd="0" destOrd="0" presId="urn:microsoft.com/office/officeart/2008/layout/HorizontalMultiLevelHierarchy"/>
    <dgm:cxn modelId="{D23CC5EB-A8E5-481C-A4B7-2438168A0D25}" type="presOf" srcId="{98782756-A8DD-4B99-8163-BE0EEAEB84C6}" destId="{E4D184B8-5C9C-4943-A810-36F67F93F467}" srcOrd="1" destOrd="0" presId="urn:microsoft.com/office/officeart/2008/layout/HorizontalMultiLevelHierarchy"/>
    <dgm:cxn modelId="{A9D479F0-15A6-4361-B9B2-07E98BB67DB7}" type="presOf" srcId="{2EA33D63-115A-4CB5-BA7B-3D2B2B2583EC}" destId="{132AC275-2453-4AB3-8CE2-9E5D7D700A45}" srcOrd="1" destOrd="0" presId="urn:microsoft.com/office/officeart/2008/layout/HorizontalMultiLevelHierarchy"/>
    <dgm:cxn modelId="{35EB89F2-C02D-468E-93A5-9506789C2600}" type="presOf" srcId="{328D65C6-24B3-4342-B578-0105DC0A1624}" destId="{4F91AB56-4F12-4FC9-AE0B-5FCBC77CBBC5}" srcOrd="0" destOrd="0" presId="urn:microsoft.com/office/officeart/2008/layout/HorizontalMultiLevelHierarchy"/>
    <dgm:cxn modelId="{98CBA3F9-BCC1-4D99-B675-4BFCFE721C4C}" type="presOf" srcId="{A21A9CBF-E59F-4232-A9F7-B2D7CC2D3388}" destId="{2826DC40-8624-4687-9D81-645AF381DD04}" srcOrd="0" destOrd="0" presId="urn:microsoft.com/office/officeart/2008/layout/HorizontalMultiLevelHierarchy"/>
    <dgm:cxn modelId="{026867FD-9DC4-4DA4-A6C5-252272C20F11}" srcId="{496ABA3A-FA04-4560-B9A4-7A5F3D82FC02}" destId="{B0FC32E2-5661-4676-9BF5-C28D2EA7C280}" srcOrd="2" destOrd="0" parTransId="{30CBC20E-B14A-466B-B3A9-728CD0F0E5FE}" sibTransId="{CA47C44D-357C-4227-9DCF-99F0300B1A21}"/>
    <dgm:cxn modelId="{FCB4CF25-F6CB-4827-B70A-18F34645B621}" type="presParOf" srcId="{7D8A1501-A2F2-4927-85D4-1776D3D281EF}" destId="{53207244-F663-4A65-B565-2399820254FB}" srcOrd="0" destOrd="0" presId="urn:microsoft.com/office/officeart/2008/layout/HorizontalMultiLevelHierarchy"/>
    <dgm:cxn modelId="{D6C1780C-150F-44B3-8A27-66B3779B20D7}" type="presParOf" srcId="{53207244-F663-4A65-B565-2399820254FB}" destId="{3FA77CE1-0DC7-442D-BF4A-22C6AFCC2A2F}" srcOrd="0" destOrd="0" presId="urn:microsoft.com/office/officeart/2008/layout/HorizontalMultiLevelHierarchy"/>
    <dgm:cxn modelId="{0F7D5609-C410-4E83-89DB-71CA405D721E}" type="presParOf" srcId="{53207244-F663-4A65-B565-2399820254FB}" destId="{06837A4C-FAE8-4B37-9AEA-0A6B069CE7ED}" srcOrd="1" destOrd="0" presId="urn:microsoft.com/office/officeart/2008/layout/HorizontalMultiLevelHierarchy"/>
    <dgm:cxn modelId="{748560DD-D3FE-491B-80D5-5DBBBF396911}" type="presParOf" srcId="{06837A4C-FAE8-4B37-9AEA-0A6B069CE7ED}" destId="{7F9A79E6-10A7-45C5-8044-C49207F6F1A3}" srcOrd="0" destOrd="0" presId="urn:microsoft.com/office/officeart/2008/layout/HorizontalMultiLevelHierarchy"/>
    <dgm:cxn modelId="{C2BFC900-ECFD-4570-86CF-919B24D116AE}" type="presParOf" srcId="{7F9A79E6-10A7-45C5-8044-C49207F6F1A3}" destId="{C164E1ED-1346-4024-BA03-A6349488DD4D}" srcOrd="0" destOrd="0" presId="urn:microsoft.com/office/officeart/2008/layout/HorizontalMultiLevelHierarchy"/>
    <dgm:cxn modelId="{F134733E-C62E-4ED5-9EE3-6055FE87CB0F}" type="presParOf" srcId="{06837A4C-FAE8-4B37-9AEA-0A6B069CE7ED}" destId="{D6A9F683-E1BD-44C1-880D-360C86614810}" srcOrd="1" destOrd="0" presId="urn:microsoft.com/office/officeart/2008/layout/HorizontalMultiLevelHierarchy"/>
    <dgm:cxn modelId="{C89FB177-E5CB-40DA-B156-B191F84B5C78}" type="presParOf" srcId="{D6A9F683-E1BD-44C1-880D-360C86614810}" destId="{9F517A26-CCB9-473A-9EA9-BE412A2D5D93}" srcOrd="0" destOrd="0" presId="urn:microsoft.com/office/officeart/2008/layout/HorizontalMultiLevelHierarchy"/>
    <dgm:cxn modelId="{B8113853-6ABE-4B40-B647-86F4F26622FF}" type="presParOf" srcId="{D6A9F683-E1BD-44C1-880D-360C86614810}" destId="{50E46EE7-BF3B-43AC-856A-AB18BF978C45}" srcOrd="1" destOrd="0" presId="urn:microsoft.com/office/officeart/2008/layout/HorizontalMultiLevelHierarchy"/>
    <dgm:cxn modelId="{A5A07939-F1F7-4870-9DB7-68E050139D17}" type="presParOf" srcId="{50E46EE7-BF3B-43AC-856A-AB18BF978C45}" destId="{34AA2E45-D977-48D6-A8C9-68D472D04787}" srcOrd="0" destOrd="0" presId="urn:microsoft.com/office/officeart/2008/layout/HorizontalMultiLevelHierarchy"/>
    <dgm:cxn modelId="{FEDC0BCD-2BB5-4B15-A450-AC00A4E9B767}" type="presParOf" srcId="{34AA2E45-D977-48D6-A8C9-68D472D04787}" destId="{62FC5471-E48C-41DA-84E5-E9FB90674A3A}" srcOrd="0" destOrd="0" presId="urn:microsoft.com/office/officeart/2008/layout/HorizontalMultiLevelHierarchy"/>
    <dgm:cxn modelId="{762B46BE-6BC8-42F8-854A-C4B01C75D834}" type="presParOf" srcId="{50E46EE7-BF3B-43AC-856A-AB18BF978C45}" destId="{345347F5-5E01-49FE-92E1-4872EA32B0D2}" srcOrd="1" destOrd="0" presId="urn:microsoft.com/office/officeart/2008/layout/HorizontalMultiLevelHierarchy"/>
    <dgm:cxn modelId="{FB31D483-8FD9-4F59-8AE1-94D9EF06D76D}" type="presParOf" srcId="{345347F5-5E01-49FE-92E1-4872EA32B0D2}" destId="{1AAC827F-C649-4B0D-9023-1A964D9F89F6}" srcOrd="0" destOrd="0" presId="urn:microsoft.com/office/officeart/2008/layout/HorizontalMultiLevelHierarchy"/>
    <dgm:cxn modelId="{4FC8B9EB-20B6-4108-BBCC-D4F8AC4262DA}" type="presParOf" srcId="{345347F5-5E01-49FE-92E1-4872EA32B0D2}" destId="{46BECF33-D3BE-4E4B-BD86-A847400A74F7}" srcOrd="1" destOrd="0" presId="urn:microsoft.com/office/officeart/2008/layout/HorizontalMultiLevelHierarchy"/>
    <dgm:cxn modelId="{4C38B268-874C-4ACD-B16C-A12605FD3183}" type="presParOf" srcId="{50E46EE7-BF3B-43AC-856A-AB18BF978C45}" destId="{E730F425-2731-4187-983C-08754F66947F}" srcOrd="2" destOrd="0" presId="urn:microsoft.com/office/officeart/2008/layout/HorizontalMultiLevelHierarchy"/>
    <dgm:cxn modelId="{7719844A-5216-41AD-B7AF-9505AD095CD8}" type="presParOf" srcId="{E730F425-2731-4187-983C-08754F66947F}" destId="{132AC275-2453-4AB3-8CE2-9E5D7D700A45}" srcOrd="0" destOrd="0" presId="urn:microsoft.com/office/officeart/2008/layout/HorizontalMultiLevelHierarchy"/>
    <dgm:cxn modelId="{3E9BE51C-4965-4148-ADB8-5B0355877E14}" type="presParOf" srcId="{50E46EE7-BF3B-43AC-856A-AB18BF978C45}" destId="{8F417A60-BF8B-40EC-94B0-7FF93B7D7ABB}" srcOrd="3" destOrd="0" presId="urn:microsoft.com/office/officeart/2008/layout/HorizontalMultiLevelHierarchy"/>
    <dgm:cxn modelId="{EBDD1C4F-F979-4F5F-A099-0D7D108E147C}" type="presParOf" srcId="{8F417A60-BF8B-40EC-94B0-7FF93B7D7ABB}" destId="{4F91AB56-4F12-4FC9-AE0B-5FCBC77CBBC5}" srcOrd="0" destOrd="0" presId="urn:microsoft.com/office/officeart/2008/layout/HorizontalMultiLevelHierarchy"/>
    <dgm:cxn modelId="{7BC57B96-1828-48EA-8B14-1045AB6AE759}" type="presParOf" srcId="{8F417A60-BF8B-40EC-94B0-7FF93B7D7ABB}" destId="{4ECAF0AE-A52E-4D62-9238-E229EC2617F2}" srcOrd="1" destOrd="0" presId="urn:microsoft.com/office/officeart/2008/layout/HorizontalMultiLevelHierarchy"/>
    <dgm:cxn modelId="{C48C2E25-73C7-479F-8BC6-76606905C5A9}" type="presParOf" srcId="{06837A4C-FAE8-4B37-9AEA-0A6B069CE7ED}" destId="{8B3C6AD8-2059-44C2-8612-F69A8240989A}" srcOrd="2" destOrd="0" presId="urn:microsoft.com/office/officeart/2008/layout/HorizontalMultiLevelHierarchy"/>
    <dgm:cxn modelId="{5FEB40DF-4269-40A7-9530-EDE6FA8BED43}" type="presParOf" srcId="{8B3C6AD8-2059-44C2-8612-F69A8240989A}" destId="{5EE8DD5B-F18B-4ECC-BAAC-6492D7D7EB4C}" srcOrd="0" destOrd="0" presId="urn:microsoft.com/office/officeart/2008/layout/HorizontalMultiLevelHierarchy"/>
    <dgm:cxn modelId="{0D13D09B-46AF-4FF5-87CD-D959C2655C9E}" type="presParOf" srcId="{06837A4C-FAE8-4B37-9AEA-0A6B069CE7ED}" destId="{11D46E27-F52A-4F4D-A4BC-2C8C8B464EF0}" srcOrd="3" destOrd="0" presId="urn:microsoft.com/office/officeart/2008/layout/HorizontalMultiLevelHierarchy"/>
    <dgm:cxn modelId="{94E14623-6B2D-4606-9AC1-698F2C51BB51}" type="presParOf" srcId="{11D46E27-F52A-4F4D-A4BC-2C8C8B464EF0}" destId="{FFB8450F-10F8-49A5-AD14-D87375775CB6}" srcOrd="0" destOrd="0" presId="urn:microsoft.com/office/officeart/2008/layout/HorizontalMultiLevelHierarchy"/>
    <dgm:cxn modelId="{D71316FC-5AF7-4279-B93A-7AB37E9FC5D4}" type="presParOf" srcId="{11D46E27-F52A-4F4D-A4BC-2C8C8B464EF0}" destId="{BE09F29A-EF43-4885-BB17-B891C20EC5EB}" srcOrd="1" destOrd="0" presId="urn:microsoft.com/office/officeart/2008/layout/HorizontalMultiLevelHierarchy"/>
    <dgm:cxn modelId="{B0A53D4F-B653-4479-9CD4-0802FE14EAEC}" type="presParOf" srcId="{06837A4C-FAE8-4B37-9AEA-0A6B069CE7ED}" destId="{8F3184B9-2FBB-40C6-91AA-AF718D8ADFAF}" srcOrd="4" destOrd="0" presId="urn:microsoft.com/office/officeart/2008/layout/HorizontalMultiLevelHierarchy"/>
    <dgm:cxn modelId="{10057E6C-0589-4883-86E0-B34A6BC3FDE4}" type="presParOf" srcId="{8F3184B9-2FBB-40C6-91AA-AF718D8ADFAF}" destId="{3EE60316-3E47-44DC-801E-46E5D5193B93}" srcOrd="0" destOrd="0" presId="urn:microsoft.com/office/officeart/2008/layout/HorizontalMultiLevelHierarchy"/>
    <dgm:cxn modelId="{71A4CFEE-E4E0-4D1A-9D66-9E9843FB752A}" type="presParOf" srcId="{06837A4C-FAE8-4B37-9AEA-0A6B069CE7ED}" destId="{BA5B83BA-0C9D-456A-8859-BD5C77C00E55}" srcOrd="5" destOrd="0" presId="urn:microsoft.com/office/officeart/2008/layout/HorizontalMultiLevelHierarchy"/>
    <dgm:cxn modelId="{40E6087F-0747-48DA-A821-989064340F07}" type="presParOf" srcId="{BA5B83BA-0C9D-456A-8859-BD5C77C00E55}" destId="{3A0AA83D-E49C-4589-AF20-44D019E34A7A}" srcOrd="0" destOrd="0" presId="urn:microsoft.com/office/officeart/2008/layout/HorizontalMultiLevelHierarchy"/>
    <dgm:cxn modelId="{FE410BA5-7725-4CF4-8BDB-688FBE103C86}" type="presParOf" srcId="{BA5B83BA-0C9D-456A-8859-BD5C77C00E55}" destId="{0F8816A4-8E96-40DA-A3E0-7213B316EE23}" srcOrd="1" destOrd="0" presId="urn:microsoft.com/office/officeart/2008/layout/HorizontalMultiLevelHierarchy"/>
    <dgm:cxn modelId="{0D45E28D-3290-4D4C-B388-45B2A9D72A96}" type="presParOf" srcId="{06837A4C-FAE8-4B37-9AEA-0A6B069CE7ED}" destId="{A4526C93-67C0-4A07-B574-73A54B1FD534}" srcOrd="6" destOrd="0" presId="urn:microsoft.com/office/officeart/2008/layout/HorizontalMultiLevelHierarchy"/>
    <dgm:cxn modelId="{E883B831-CE55-4907-A204-CE2CB51C0D98}" type="presParOf" srcId="{A4526C93-67C0-4A07-B574-73A54B1FD534}" destId="{4913237E-BA37-4503-A430-86D368D49ECF}" srcOrd="0" destOrd="0" presId="urn:microsoft.com/office/officeart/2008/layout/HorizontalMultiLevelHierarchy"/>
    <dgm:cxn modelId="{05810C7C-F61F-4185-8CA8-56C41A294964}" type="presParOf" srcId="{06837A4C-FAE8-4B37-9AEA-0A6B069CE7ED}" destId="{58EB90BD-3285-4860-A4CE-FFF0117872BB}" srcOrd="7" destOrd="0" presId="urn:microsoft.com/office/officeart/2008/layout/HorizontalMultiLevelHierarchy"/>
    <dgm:cxn modelId="{772D1BDD-7546-47C9-B4F2-7FBF9605ACD8}" type="presParOf" srcId="{58EB90BD-3285-4860-A4CE-FFF0117872BB}" destId="{CE17D01B-A0BC-4CEA-A24A-F6A727694078}" srcOrd="0" destOrd="0" presId="urn:microsoft.com/office/officeart/2008/layout/HorizontalMultiLevelHierarchy"/>
    <dgm:cxn modelId="{534372D3-905A-4871-B3F1-06472B14C2F2}" type="presParOf" srcId="{58EB90BD-3285-4860-A4CE-FFF0117872BB}" destId="{1F271523-460C-4CF4-A429-E606921B59FC}" srcOrd="1" destOrd="0" presId="urn:microsoft.com/office/officeart/2008/layout/HorizontalMultiLevelHierarchy"/>
    <dgm:cxn modelId="{F4EFC6D9-AF80-4D71-B589-A27CA94362F4}" type="presParOf" srcId="{1F271523-460C-4CF4-A429-E606921B59FC}" destId="{720AF1CA-AF3A-46C0-A415-24B472590C7E}" srcOrd="0" destOrd="0" presId="urn:microsoft.com/office/officeart/2008/layout/HorizontalMultiLevelHierarchy"/>
    <dgm:cxn modelId="{DF1A6571-3B7F-42F1-AF97-87B5EA7CEC51}" type="presParOf" srcId="{720AF1CA-AF3A-46C0-A415-24B472590C7E}" destId="{E0C386BD-DC0F-4A1A-8C6A-495A5D368278}" srcOrd="0" destOrd="0" presId="urn:microsoft.com/office/officeart/2008/layout/HorizontalMultiLevelHierarchy"/>
    <dgm:cxn modelId="{50275B84-CDDD-4820-9E1E-D373035B4D08}" type="presParOf" srcId="{1F271523-460C-4CF4-A429-E606921B59FC}" destId="{FE2DADA5-0B90-4499-A7D5-2A3683146530}" srcOrd="1" destOrd="0" presId="urn:microsoft.com/office/officeart/2008/layout/HorizontalMultiLevelHierarchy"/>
    <dgm:cxn modelId="{F98DDCDB-0875-4012-A210-B5BC33CE045B}" type="presParOf" srcId="{FE2DADA5-0B90-4499-A7D5-2A3683146530}" destId="{BEE7196F-4FFF-4BF5-93A9-7C99791B7A2D}" srcOrd="0" destOrd="0" presId="urn:microsoft.com/office/officeart/2008/layout/HorizontalMultiLevelHierarchy"/>
    <dgm:cxn modelId="{BB3C0161-104C-4198-82D4-3CEE6DDA390A}" type="presParOf" srcId="{FE2DADA5-0B90-4499-A7D5-2A3683146530}" destId="{6AB4C9AC-BFF2-4466-BB88-F85FFF8AADF7}" srcOrd="1" destOrd="0" presId="urn:microsoft.com/office/officeart/2008/layout/HorizontalMultiLevelHierarchy"/>
    <dgm:cxn modelId="{2FAD8EAE-C8B5-4FF7-A53A-FD8BE31FA7D5}" type="presParOf" srcId="{1F271523-460C-4CF4-A429-E606921B59FC}" destId="{25A2D3E9-51F4-403B-AE90-5EB9897176D3}" srcOrd="2" destOrd="0" presId="urn:microsoft.com/office/officeart/2008/layout/HorizontalMultiLevelHierarchy"/>
    <dgm:cxn modelId="{40615BF9-104F-448B-B9C8-74C1544CCC07}" type="presParOf" srcId="{25A2D3E9-51F4-403B-AE90-5EB9897176D3}" destId="{E261B082-5C8F-43F1-8478-BA313A7C7406}" srcOrd="0" destOrd="0" presId="urn:microsoft.com/office/officeart/2008/layout/HorizontalMultiLevelHierarchy"/>
    <dgm:cxn modelId="{6860CC97-DB89-4D6A-A87E-273C56534C27}" type="presParOf" srcId="{1F271523-460C-4CF4-A429-E606921B59FC}" destId="{0DA7BFB6-69D0-45D9-BBF4-B622244A0193}" srcOrd="3" destOrd="0" presId="urn:microsoft.com/office/officeart/2008/layout/HorizontalMultiLevelHierarchy"/>
    <dgm:cxn modelId="{7E5B2290-856C-4018-9F26-AE849F9719E5}" type="presParOf" srcId="{0DA7BFB6-69D0-45D9-BBF4-B622244A0193}" destId="{1C911E8F-5D18-4BC2-BA16-74479965C24A}" srcOrd="0" destOrd="0" presId="urn:microsoft.com/office/officeart/2008/layout/HorizontalMultiLevelHierarchy"/>
    <dgm:cxn modelId="{65598727-2892-4E18-8593-27F3B662D9BB}" type="presParOf" srcId="{0DA7BFB6-69D0-45D9-BBF4-B622244A0193}" destId="{F2A9FBF7-8710-43F9-BBC3-BF237A336A54}" srcOrd="1" destOrd="0" presId="urn:microsoft.com/office/officeart/2008/layout/HorizontalMultiLevelHierarchy"/>
    <dgm:cxn modelId="{C6591641-7DBD-46C6-9EE9-7071CD742ED3}" type="presParOf" srcId="{06837A4C-FAE8-4B37-9AEA-0A6B069CE7ED}" destId="{2533D854-F1C4-45DE-B6D2-BCE1D50402E4}" srcOrd="8" destOrd="0" presId="urn:microsoft.com/office/officeart/2008/layout/HorizontalMultiLevelHierarchy"/>
    <dgm:cxn modelId="{0A49800B-D508-488D-8843-B26229AB9CE6}" type="presParOf" srcId="{2533D854-F1C4-45DE-B6D2-BCE1D50402E4}" destId="{B6B517D6-316B-4FEA-AB41-28A05CB7FAD0}" srcOrd="0" destOrd="0" presId="urn:microsoft.com/office/officeart/2008/layout/HorizontalMultiLevelHierarchy"/>
    <dgm:cxn modelId="{2B05D571-35CE-4265-9F34-097A3A1B35B6}" type="presParOf" srcId="{06837A4C-FAE8-4B37-9AEA-0A6B069CE7ED}" destId="{9FB2AD5E-B004-4782-8DA7-3FC0EC0E8EAF}" srcOrd="9" destOrd="0" presId="urn:microsoft.com/office/officeart/2008/layout/HorizontalMultiLevelHierarchy"/>
    <dgm:cxn modelId="{6D3BACCD-76ED-449D-ACF7-8A1A0AE89052}" type="presParOf" srcId="{9FB2AD5E-B004-4782-8DA7-3FC0EC0E8EAF}" destId="{DB33BA45-4DD2-4E60-9A30-936E11BF094B}" srcOrd="0" destOrd="0" presId="urn:microsoft.com/office/officeart/2008/layout/HorizontalMultiLevelHierarchy"/>
    <dgm:cxn modelId="{79099574-CBAA-4C35-83F4-72746513C3EB}" type="presParOf" srcId="{9FB2AD5E-B004-4782-8DA7-3FC0EC0E8EAF}" destId="{C1E94B65-9EC3-43C7-8B18-D84D2E2243BE}" srcOrd="1" destOrd="0" presId="urn:microsoft.com/office/officeart/2008/layout/HorizontalMultiLevelHierarchy"/>
    <dgm:cxn modelId="{EC1598F6-45F5-47DB-B28A-D583B47B3678}" type="presParOf" srcId="{06837A4C-FAE8-4B37-9AEA-0A6B069CE7ED}" destId="{2826DC40-8624-4687-9D81-645AF381DD04}" srcOrd="10" destOrd="0" presId="urn:microsoft.com/office/officeart/2008/layout/HorizontalMultiLevelHierarchy"/>
    <dgm:cxn modelId="{DEB19B14-4B31-476F-8B88-39711A8DF4E4}" type="presParOf" srcId="{2826DC40-8624-4687-9D81-645AF381DD04}" destId="{EE493C54-CDA0-4B74-8DAC-B6D13D8F21D5}" srcOrd="0" destOrd="0" presId="urn:microsoft.com/office/officeart/2008/layout/HorizontalMultiLevelHierarchy"/>
    <dgm:cxn modelId="{C93025CF-7FBA-4BAA-B5E6-48714B551866}" type="presParOf" srcId="{06837A4C-FAE8-4B37-9AEA-0A6B069CE7ED}" destId="{A52DF160-5677-469D-A5FD-102B50683A1B}" srcOrd="11" destOrd="0" presId="urn:microsoft.com/office/officeart/2008/layout/HorizontalMultiLevelHierarchy"/>
    <dgm:cxn modelId="{CC813940-EA16-49CA-B2E5-8D4313A363AB}" type="presParOf" srcId="{A52DF160-5677-469D-A5FD-102B50683A1B}" destId="{E0F5FDFE-244D-436A-8DDB-7CA6B22387C6}" srcOrd="0" destOrd="0" presId="urn:microsoft.com/office/officeart/2008/layout/HorizontalMultiLevelHierarchy"/>
    <dgm:cxn modelId="{BAC22EF8-5CAA-4C62-947F-F42FFA2E22B1}" type="presParOf" srcId="{A52DF160-5677-469D-A5FD-102B50683A1B}" destId="{02E44742-417C-4BFA-B2C0-2C76522C7F9A}" srcOrd="1" destOrd="0" presId="urn:microsoft.com/office/officeart/2008/layout/HorizontalMultiLevelHierarchy"/>
    <dgm:cxn modelId="{0C396C6D-DCE1-47FD-BF74-2879B678234A}" type="presParOf" srcId="{06837A4C-FAE8-4B37-9AEA-0A6B069CE7ED}" destId="{77A1FBF3-3DCF-4057-BC82-C57950E7D81C}" srcOrd="12" destOrd="0" presId="urn:microsoft.com/office/officeart/2008/layout/HorizontalMultiLevelHierarchy"/>
    <dgm:cxn modelId="{33FF0CB8-A3F5-46CB-92E0-F1C8869F9B9D}" type="presParOf" srcId="{77A1FBF3-3DCF-4057-BC82-C57950E7D81C}" destId="{4C3FA2BF-CCA9-485B-9FF0-6D597E1736E7}" srcOrd="0" destOrd="0" presId="urn:microsoft.com/office/officeart/2008/layout/HorizontalMultiLevelHierarchy"/>
    <dgm:cxn modelId="{49426A6C-4354-4F89-83B3-2A6C00304E00}" type="presParOf" srcId="{06837A4C-FAE8-4B37-9AEA-0A6B069CE7ED}" destId="{E777A474-C1A7-4972-9615-19B13C1A37A1}" srcOrd="13" destOrd="0" presId="urn:microsoft.com/office/officeart/2008/layout/HorizontalMultiLevelHierarchy"/>
    <dgm:cxn modelId="{C97886BF-862D-45D0-AD9D-630A3F3CCF01}" type="presParOf" srcId="{E777A474-C1A7-4972-9615-19B13C1A37A1}" destId="{E267A4A9-CD7B-49CD-A011-30D14BDA8A84}" srcOrd="0" destOrd="0" presId="urn:microsoft.com/office/officeart/2008/layout/HorizontalMultiLevelHierarchy"/>
    <dgm:cxn modelId="{6416428F-076F-4734-9640-0CA1DE31832C}" type="presParOf" srcId="{E777A474-C1A7-4972-9615-19B13C1A37A1}" destId="{7795EEA9-4C15-46C6-AE3E-8F63068A4D8B}" srcOrd="1" destOrd="0" presId="urn:microsoft.com/office/officeart/2008/layout/HorizontalMultiLevelHierarchy"/>
    <dgm:cxn modelId="{C053D01E-FFA5-4790-BAF4-DF6A200BBD1B}" type="presParOf" srcId="{7795EEA9-4C15-46C6-AE3E-8F63068A4D8B}" destId="{1FB55C85-32DF-41AC-B096-30CE08166C94}" srcOrd="0" destOrd="0" presId="urn:microsoft.com/office/officeart/2008/layout/HorizontalMultiLevelHierarchy"/>
    <dgm:cxn modelId="{3ECE74D9-6EFC-4F7F-80D5-A65310F0CD1F}" type="presParOf" srcId="{1FB55C85-32DF-41AC-B096-30CE08166C94}" destId="{E4D184B8-5C9C-4943-A810-36F67F93F467}" srcOrd="0" destOrd="0" presId="urn:microsoft.com/office/officeart/2008/layout/HorizontalMultiLevelHierarchy"/>
    <dgm:cxn modelId="{3D943831-5C18-4725-8764-B479817B9D10}" type="presParOf" srcId="{7795EEA9-4C15-46C6-AE3E-8F63068A4D8B}" destId="{834361FE-8A69-4E99-8371-4E7018947289}" srcOrd="1" destOrd="0" presId="urn:microsoft.com/office/officeart/2008/layout/HorizontalMultiLevelHierarchy"/>
    <dgm:cxn modelId="{DC6A89BF-4ED6-4BBE-B12E-0F878CEEADA5}" type="presParOf" srcId="{834361FE-8A69-4E99-8371-4E7018947289}" destId="{08D2E524-0B19-4990-ADCF-46E9AD2DCD3C}" srcOrd="0" destOrd="0" presId="urn:microsoft.com/office/officeart/2008/layout/HorizontalMultiLevelHierarchy"/>
    <dgm:cxn modelId="{8488C221-11E2-4FB3-9EC9-DA401354F886}" type="presParOf" srcId="{834361FE-8A69-4E99-8371-4E7018947289}" destId="{6416697C-9796-4ACB-B249-0D9E5896F482}" srcOrd="1" destOrd="0" presId="urn:microsoft.com/office/officeart/2008/layout/HorizontalMultiLevelHierarchy"/>
    <dgm:cxn modelId="{136609CF-EB03-47EC-A220-2CACCB865A74}" type="presParOf" srcId="{7795EEA9-4C15-46C6-AE3E-8F63068A4D8B}" destId="{219EAEAB-5D4B-4058-9BE7-1963E32CD697}" srcOrd="2" destOrd="0" presId="urn:microsoft.com/office/officeart/2008/layout/HorizontalMultiLevelHierarchy"/>
    <dgm:cxn modelId="{3F8C43F6-3CE9-4E02-999E-6A5F04591542}" type="presParOf" srcId="{219EAEAB-5D4B-4058-9BE7-1963E32CD697}" destId="{89493CC0-BADB-4B49-945F-17AB781A8A66}" srcOrd="0" destOrd="0" presId="urn:microsoft.com/office/officeart/2008/layout/HorizontalMultiLevelHierarchy"/>
    <dgm:cxn modelId="{8C872836-2842-470F-A2C5-4DB69DC67F90}" type="presParOf" srcId="{7795EEA9-4C15-46C6-AE3E-8F63068A4D8B}" destId="{42C534EC-F793-4594-8158-E32A615DF8CE}" srcOrd="3" destOrd="0" presId="urn:microsoft.com/office/officeart/2008/layout/HorizontalMultiLevelHierarchy"/>
    <dgm:cxn modelId="{DC2F3FF0-AE65-46EB-ABAF-185B496984DC}" type="presParOf" srcId="{42C534EC-F793-4594-8158-E32A615DF8CE}" destId="{3607A185-DDDB-4135-AE2B-030332CA9882}" srcOrd="0" destOrd="0" presId="urn:microsoft.com/office/officeart/2008/layout/HorizontalMultiLevelHierarchy"/>
    <dgm:cxn modelId="{7D4F4C94-4428-4D85-8CC9-ADC4A7D3F0D2}" type="presParOf" srcId="{42C534EC-F793-4594-8158-E32A615DF8CE}" destId="{1B8D3822-AAD2-4BBE-925F-AA462333E7A9}" srcOrd="1" destOrd="0" presId="urn:microsoft.com/office/officeart/2008/layout/HorizontalMultiLevelHierarchy"/>
    <dgm:cxn modelId="{6DC69E0D-9CCC-46A4-994F-3E9162D74855}" type="presParOf" srcId="{06837A4C-FAE8-4B37-9AEA-0A6B069CE7ED}" destId="{6EC119CE-B955-43BD-A705-4B583672F859}" srcOrd="14" destOrd="0" presId="urn:microsoft.com/office/officeart/2008/layout/HorizontalMultiLevelHierarchy"/>
    <dgm:cxn modelId="{5D41B826-D4F9-48EB-B656-6518528423BF}" type="presParOf" srcId="{6EC119CE-B955-43BD-A705-4B583672F859}" destId="{E1E17DB4-3749-4FDC-9A5D-59B6161A10F6}" srcOrd="0" destOrd="0" presId="urn:microsoft.com/office/officeart/2008/layout/HorizontalMultiLevelHierarchy"/>
    <dgm:cxn modelId="{7798ED2E-D385-4CBA-839B-0DEE7F574657}" type="presParOf" srcId="{06837A4C-FAE8-4B37-9AEA-0A6B069CE7ED}" destId="{D08C6241-AB47-4568-AFAC-A98887AB7197}" srcOrd="15" destOrd="0" presId="urn:microsoft.com/office/officeart/2008/layout/HorizontalMultiLevelHierarchy"/>
    <dgm:cxn modelId="{C722E272-094B-4C8B-9D00-8D8F80B49CBC}" type="presParOf" srcId="{D08C6241-AB47-4568-AFAC-A98887AB7197}" destId="{05BCE626-CC17-42B6-BFEF-35A5F7E6AE52}" srcOrd="0" destOrd="0" presId="urn:microsoft.com/office/officeart/2008/layout/HorizontalMultiLevelHierarchy"/>
    <dgm:cxn modelId="{BEA3FB97-74C7-4816-AE68-5DE82E808B9D}" type="presParOf" srcId="{D08C6241-AB47-4568-AFAC-A98887AB7197}" destId="{0356DC78-233A-49B3-8139-E7C98A78BD0A}" srcOrd="1" destOrd="0" presId="urn:microsoft.com/office/officeart/2008/layout/HorizontalMultiLevelHierarchy"/>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141BE7-4AEB-4CC7-9E4F-2AAF02E68857}">
      <dsp:nvSpPr>
        <dsp:cNvPr id="0" name=""/>
        <dsp:cNvSpPr/>
      </dsp:nvSpPr>
      <dsp:spPr>
        <a:xfrm>
          <a:off x="1608842" y="2998425"/>
          <a:ext cx="27056" cy="27056"/>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A8BFC3-1141-4AC9-8206-DDCC8C204EC8}">
      <dsp:nvSpPr>
        <dsp:cNvPr id="0" name=""/>
        <dsp:cNvSpPr/>
      </dsp:nvSpPr>
      <dsp:spPr>
        <a:xfrm>
          <a:off x="1851051" y="2970755"/>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6F0779-686C-431F-874C-853456E638E5}">
      <dsp:nvSpPr>
        <dsp:cNvPr id="0" name=""/>
        <dsp:cNvSpPr/>
      </dsp:nvSpPr>
      <dsp:spPr>
        <a:xfrm>
          <a:off x="1445676" y="3015644"/>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ACFE8A-BCFC-401A-960A-0BF564EBA897}">
      <dsp:nvSpPr>
        <dsp:cNvPr id="0" name=""/>
        <dsp:cNvSpPr/>
      </dsp:nvSpPr>
      <dsp:spPr>
        <a:xfrm>
          <a:off x="1320204" y="1151566"/>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126EEB-0860-4E3E-BAC6-F3FDCD205FE8}">
      <dsp:nvSpPr>
        <dsp:cNvPr id="0" name=""/>
        <dsp:cNvSpPr/>
      </dsp:nvSpPr>
      <dsp:spPr>
        <a:xfrm>
          <a:off x="1947165" y="2957320"/>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3D463F-36DC-4417-8DDD-852DC46280AB}">
      <dsp:nvSpPr>
        <dsp:cNvPr id="0" name=""/>
        <dsp:cNvSpPr/>
      </dsp:nvSpPr>
      <dsp:spPr>
        <a:xfrm>
          <a:off x="1223962" y="1133442"/>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816962-E29C-45DC-A5E1-111040D56A9F}">
      <dsp:nvSpPr>
        <dsp:cNvPr id="0" name=""/>
        <dsp:cNvSpPr/>
      </dsp:nvSpPr>
      <dsp:spPr>
        <a:xfrm>
          <a:off x="1333253" y="1115222"/>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2B780E-9032-43FF-BE01-95CE0EDAF26F}">
      <dsp:nvSpPr>
        <dsp:cNvPr id="0" name=""/>
        <dsp:cNvSpPr/>
      </dsp:nvSpPr>
      <dsp:spPr>
        <a:xfrm>
          <a:off x="1249815" y="1119243"/>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CD0DFD-807B-43C0-BA64-A1E3BBDD1CDB}">
      <dsp:nvSpPr>
        <dsp:cNvPr id="0" name=""/>
        <dsp:cNvSpPr/>
      </dsp:nvSpPr>
      <dsp:spPr>
        <a:xfrm>
          <a:off x="1203438" y="1085572"/>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075E01-4920-408F-B78E-4910D9761447}">
      <dsp:nvSpPr>
        <dsp:cNvPr id="0" name=""/>
        <dsp:cNvSpPr/>
      </dsp:nvSpPr>
      <dsp:spPr>
        <a:xfrm>
          <a:off x="1268254" y="1126029"/>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A4E700-C0F5-46B7-B8B9-506F7AD0725B}">
      <dsp:nvSpPr>
        <dsp:cNvPr id="0" name=""/>
        <dsp:cNvSpPr/>
      </dsp:nvSpPr>
      <dsp:spPr>
        <a:xfrm>
          <a:off x="1331354" y="1132000"/>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0D3C26-7511-4A9A-A223-049A7F5374C6}">
      <dsp:nvSpPr>
        <dsp:cNvPr id="0" name=""/>
        <dsp:cNvSpPr/>
      </dsp:nvSpPr>
      <dsp:spPr>
        <a:xfrm>
          <a:off x="1353593" y="1085675"/>
          <a:ext cx="62628" cy="6262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AB911C-47B6-4646-9A93-7B4A55858662}">
      <dsp:nvSpPr>
        <dsp:cNvPr id="0" name=""/>
        <dsp:cNvSpPr/>
      </dsp:nvSpPr>
      <dsp:spPr>
        <a:xfrm>
          <a:off x="740073" y="3684125"/>
          <a:ext cx="1350895" cy="3622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939"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dirty="0"/>
            <a:t>Varlık</a:t>
          </a:r>
          <a:endParaRPr lang="en-US" sz="1500" kern="1200" dirty="0"/>
        </a:p>
      </dsp:txBody>
      <dsp:txXfrm>
        <a:off x="757755" y="3701807"/>
        <a:ext cx="1315531" cy="326846"/>
      </dsp:txXfrm>
    </dsp:sp>
    <dsp:sp modelId="{6AAFDE20-50B8-452F-BDC1-38FC65FBE933}">
      <dsp:nvSpPr>
        <dsp:cNvPr id="0" name=""/>
        <dsp:cNvSpPr/>
      </dsp:nvSpPr>
      <dsp:spPr>
        <a:xfrm>
          <a:off x="245121" y="3362991"/>
          <a:ext cx="626284" cy="626239"/>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7330DC-EF4F-4C12-95CB-9000F67496C5}">
      <dsp:nvSpPr>
        <dsp:cNvPr id="0" name=""/>
        <dsp:cNvSpPr/>
      </dsp:nvSpPr>
      <dsp:spPr>
        <a:xfrm>
          <a:off x="697405" y="2736460"/>
          <a:ext cx="1350895" cy="3622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939"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dirty="0"/>
            <a:t>Değer</a:t>
          </a:r>
          <a:endParaRPr lang="en-US" sz="1500" kern="1200" dirty="0"/>
        </a:p>
      </dsp:txBody>
      <dsp:txXfrm>
        <a:off x="715087" y="2754142"/>
        <a:ext cx="1315531" cy="326846"/>
      </dsp:txXfrm>
    </dsp:sp>
    <dsp:sp modelId="{E57AEFEC-8E40-4813-8CD4-A4949FB4F260}">
      <dsp:nvSpPr>
        <dsp:cNvPr id="0" name=""/>
        <dsp:cNvSpPr/>
      </dsp:nvSpPr>
      <dsp:spPr>
        <a:xfrm>
          <a:off x="245121" y="2338250"/>
          <a:ext cx="626284" cy="626239"/>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506564-17CB-431C-926E-CDB034B6DFB9}">
      <dsp:nvSpPr>
        <dsp:cNvPr id="0" name=""/>
        <dsp:cNvSpPr/>
      </dsp:nvSpPr>
      <dsp:spPr>
        <a:xfrm>
          <a:off x="744615" y="944355"/>
          <a:ext cx="1350895" cy="3622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939" tIns="57150" rIns="57150" bIns="57150" numCol="1" spcCol="1270" anchor="ctr" anchorCtr="0">
          <a:noAutofit/>
        </a:bodyPr>
        <a:lstStyle/>
        <a:p>
          <a:pPr marL="0" lvl="0" indent="0" algn="l" defTabSz="666750">
            <a:lnSpc>
              <a:spcPct val="90000"/>
            </a:lnSpc>
            <a:spcBef>
              <a:spcPct val="0"/>
            </a:spcBef>
            <a:spcAft>
              <a:spcPct val="35000"/>
            </a:spcAft>
            <a:buNone/>
          </a:pPr>
          <a:r>
            <a:rPr lang="tr-TR" sz="1500" kern="1200" dirty="0"/>
            <a:t>Amaç</a:t>
          </a:r>
          <a:endParaRPr lang="en-US" sz="1500" kern="1200" dirty="0"/>
        </a:p>
      </dsp:txBody>
      <dsp:txXfrm>
        <a:off x="762297" y="962037"/>
        <a:ext cx="1315531" cy="326846"/>
      </dsp:txXfrm>
    </dsp:sp>
    <dsp:sp modelId="{8334715E-E195-412E-B8CB-5D80A068F497}">
      <dsp:nvSpPr>
        <dsp:cNvPr id="0" name=""/>
        <dsp:cNvSpPr/>
      </dsp:nvSpPr>
      <dsp:spPr>
        <a:xfrm>
          <a:off x="252812" y="672906"/>
          <a:ext cx="626284" cy="626239"/>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85EA4B-8A9C-436C-841A-EA8BC1BF4E40}">
      <dsp:nvSpPr>
        <dsp:cNvPr id="0" name=""/>
        <dsp:cNvSpPr/>
      </dsp:nvSpPr>
      <dsp:spPr>
        <a:xfrm rot="2093240">
          <a:off x="3024509" y="8696"/>
          <a:ext cx="857659" cy="85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tr-TR" sz="900" b="1" kern="1200" dirty="0">
              <a:solidFill>
                <a:sysClr val="windowText" lastClr="000000">
                  <a:hueOff val="0"/>
                  <a:satOff val="0"/>
                  <a:lumOff val="0"/>
                  <a:alphaOff val="0"/>
                </a:sysClr>
              </a:solidFill>
              <a:latin typeface="Calibri" panose="020F0502020204030204"/>
              <a:ea typeface="+mn-ea"/>
              <a:cs typeface="+mn-cs"/>
            </a:rPr>
            <a:t>İş devamlılığı</a:t>
          </a:r>
        </a:p>
      </dsp:txBody>
      <dsp:txXfrm>
        <a:off x="3024509" y="8696"/>
        <a:ext cx="857659" cy="857659"/>
      </dsp:txXfrm>
    </dsp:sp>
    <dsp:sp modelId="{ADE481A2-9CBA-49CA-A096-97E8F4EF82BF}">
      <dsp:nvSpPr>
        <dsp:cNvPr id="0" name=""/>
        <dsp:cNvSpPr/>
      </dsp:nvSpPr>
      <dsp:spPr>
        <a:xfrm>
          <a:off x="397172" y="-437"/>
          <a:ext cx="4195676" cy="4195676"/>
        </a:xfrm>
        <a:prstGeom prst="circularArrow">
          <a:avLst>
            <a:gd name="adj1" fmla="val 3990"/>
            <a:gd name="adj2" fmla="val 250290"/>
            <a:gd name="adj3" fmla="val 20573170"/>
            <a:gd name="adj4" fmla="val 18982995"/>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EA7C1D-EB23-44E0-A50A-340DA875F215}">
      <dsp:nvSpPr>
        <dsp:cNvPr id="0" name=""/>
        <dsp:cNvSpPr/>
      </dsp:nvSpPr>
      <dsp:spPr>
        <a:xfrm rot="5400000">
          <a:off x="3982838" y="1668571"/>
          <a:ext cx="857659" cy="85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tr-TR" sz="900" b="1" kern="1200" dirty="0">
              <a:solidFill>
                <a:sysClr val="windowText" lastClr="000000">
                  <a:hueOff val="0"/>
                  <a:satOff val="0"/>
                  <a:lumOff val="0"/>
                  <a:alphaOff val="0"/>
                </a:sysClr>
              </a:solidFill>
              <a:latin typeface="Calibri" panose="020F0502020204030204"/>
              <a:ea typeface="+mn-ea"/>
              <a:cs typeface="+mn-cs"/>
            </a:rPr>
            <a:t>Dağıtım</a:t>
          </a:r>
        </a:p>
      </dsp:txBody>
      <dsp:txXfrm>
        <a:off x="3982838" y="1668571"/>
        <a:ext cx="857659" cy="857659"/>
      </dsp:txXfrm>
    </dsp:sp>
    <dsp:sp modelId="{6E013AF6-7AC6-4DBA-8AEC-EF4B3FCAF2FA}">
      <dsp:nvSpPr>
        <dsp:cNvPr id="0" name=""/>
        <dsp:cNvSpPr/>
      </dsp:nvSpPr>
      <dsp:spPr>
        <a:xfrm>
          <a:off x="397172" y="-437"/>
          <a:ext cx="4195676" cy="4195676"/>
        </a:xfrm>
        <a:prstGeom prst="circularArrow">
          <a:avLst>
            <a:gd name="adj1" fmla="val 3990"/>
            <a:gd name="adj2" fmla="val 250290"/>
            <a:gd name="adj3" fmla="val 2366715"/>
            <a:gd name="adj4" fmla="val 776540"/>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23EEE8-1CFE-48C8-A24B-C7DF1142D7E2}">
      <dsp:nvSpPr>
        <dsp:cNvPr id="0" name=""/>
        <dsp:cNvSpPr/>
      </dsp:nvSpPr>
      <dsp:spPr>
        <a:xfrm rot="19536997">
          <a:off x="3024509" y="3328445"/>
          <a:ext cx="857659" cy="85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tr-TR" sz="900" b="1" kern="1200">
              <a:solidFill>
                <a:sysClr val="windowText" lastClr="000000">
                  <a:hueOff val="0"/>
                  <a:satOff val="0"/>
                  <a:lumOff val="0"/>
                  <a:alphaOff val="0"/>
                </a:sysClr>
              </a:solidFill>
              <a:latin typeface="Calibri" panose="020F0502020204030204"/>
              <a:ea typeface="+mn-ea"/>
              <a:cs typeface="+mn-cs"/>
            </a:rPr>
            <a:t>Karlılık</a:t>
          </a:r>
        </a:p>
      </dsp:txBody>
      <dsp:txXfrm>
        <a:off x="3024509" y="3328445"/>
        <a:ext cx="857659" cy="857659"/>
      </dsp:txXfrm>
    </dsp:sp>
    <dsp:sp modelId="{1049EE93-6913-425E-BFA6-B52342DE2BC8}">
      <dsp:nvSpPr>
        <dsp:cNvPr id="0" name=""/>
        <dsp:cNvSpPr/>
      </dsp:nvSpPr>
      <dsp:spPr>
        <a:xfrm>
          <a:off x="397172" y="-437"/>
          <a:ext cx="4195676" cy="4195676"/>
        </a:xfrm>
        <a:prstGeom prst="circularArrow">
          <a:avLst>
            <a:gd name="adj1" fmla="val 3990"/>
            <a:gd name="adj2" fmla="val 250290"/>
            <a:gd name="adj3" fmla="val 6111114"/>
            <a:gd name="adj4" fmla="val 4438596"/>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81CD7B-6BCF-4D43-A099-3B0B43AF3A24}">
      <dsp:nvSpPr>
        <dsp:cNvPr id="0" name=""/>
        <dsp:cNvSpPr/>
      </dsp:nvSpPr>
      <dsp:spPr>
        <a:xfrm rot="1871485">
          <a:off x="1107851" y="3328445"/>
          <a:ext cx="857659" cy="85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tr-TR" sz="900" b="1" kern="1200">
              <a:solidFill>
                <a:sysClr val="windowText" lastClr="000000">
                  <a:hueOff val="0"/>
                  <a:satOff val="0"/>
                  <a:lumOff val="0"/>
                  <a:alphaOff val="0"/>
                </a:sysClr>
              </a:solidFill>
              <a:latin typeface="Calibri" panose="020F0502020204030204"/>
              <a:ea typeface="+mn-ea"/>
              <a:cs typeface="+mn-cs"/>
            </a:rPr>
            <a:t>Opresayonel Mükemmellik</a:t>
          </a:r>
        </a:p>
      </dsp:txBody>
      <dsp:txXfrm>
        <a:off x="1107851" y="3328445"/>
        <a:ext cx="857659" cy="857659"/>
      </dsp:txXfrm>
    </dsp:sp>
    <dsp:sp modelId="{09B41C92-EEA3-4A96-AD9A-C975886556BF}">
      <dsp:nvSpPr>
        <dsp:cNvPr id="0" name=""/>
        <dsp:cNvSpPr/>
      </dsp:nvSpPr>
      <dsp:spPr>
        <a:xfrm>
          <a:off x="397172" y="-437"/>
          <a:ext cx="4195676" cy="4195676"/>
        </a:xfrm>
        <a:prstGeom prst="circularArrow">
          <a:avLst>
            <a:gd name="adj1" fmla="val 3990"/>
            <a:gd name="adj2" fmla="val 250290"/>
            <a:gd name="adj3" fmla="val 9773170"/>
            <a:gd name="adj4" fmla="val 8182995"/>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CB5BD5-C60D-4DB7-B94F-09E77B1D3D47}">
      <dsp:nvSpPr>
        <dsp:cNvPr id="0" name=""/>
        <dsp:cNvSpPr/>
      </dsp:nvSpPr>
      <dsp:spPr>
        <a:xfrm rot="16200000">
          <a:off x="149523" y="1668571"/>
          <a:ext cx="857659" cy="85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tr-TR" sz="900" b="1" kern="1200" dirty="0">
              <a:solidFill>
                <a:sysClr val="windowText" lastClr="000000">
                  <a:hueOff val="0"/>
                  <a:satOff val="0"/>
                  <a:lumOff val="0"/>
                  <a:alphaOff val="0"/>
                </a:sysClr>
              </a:solidFill>
              <a:latin typeface="Calibri" panose="020F0502020204030204"/>
              <a:ea typeface="+mn-ea"/>
              <a:cs typeface="+mn-cs"/>
            </a:rPr>
            <a:t>Sürdürülebilirlik</a:t>
          </a:r>
          <a:endParaRPr lang="tr-TR" sz="1000" b="1" kern="1200" dirty="0">
            <a:solidFill>
              <a:sysClr val="windowText" lastClr="000000">
                <a:hueOff val="0"/>
                <a:satOff val="0"/>
                <a:lumOff val="0"/>
                <a:alphaOff val="0"/>
              </a:sysClr>
            </a:solidFill>
            <a:latin typeface="Calibri" panose="020F0502020204030204"/>
            <a:ea typeface="+mn-ea"/>
            <a:cs typeface="+mn-cs"/>
          </a:endParaRPr>
        </a:p>
      </dsp:txBody>
      <dsp:txXfrm>
        <a:off x="149523" y="1668571"/>
        <a:ext cx="857659" cy="857659"/>
      </dsp:txXfrm>
    </dsp:sp>
    <dsp:sp modelId="{F013E24C-1857-4DC7-B8FE-85266C01C990}">
      <dsp:nvSpPr>
        <dsp:cNvPr id="0" name=""/>
        <dsp:cNvSpPr/>
      </dsp:nvSpPr>
      <dsp:spPr>
        <a:xfrm>
          <a:off x="397172" y="-437"/>
          <a:ext cx="4195676" cy="4195676"/>
        </a:xfrm>
        <a:prstGeom prst="circularArrow">
          <a:avLst>
            <a:gd name="adj1" fmla="val 3990"/>
            <a:gd name="adj2" fmla="val 250290"/>
            <a:gd name="adj3" fmla="val 13166715"/>
            <a:gd name="adj4" fmla="val 11576540"/>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48EC18-0661-4CC6-AC53-56ADBF012D46}">
      <dsp:nvSpPr>
        <dsp:cNvPr id="0" name=""/>
        <dsp:cNvSpPr/>
      </dsp:nvSpPr>
      <dsp:spPr>
        <a:xfrm rot="19669881">
          <a:off x="1107851" y="8696"/>
          <a:ext cx="857659" cy="85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tr-TR" sz="900" b="1" kern="1200" dirty="0">
              <a:solidFill>
                <a:sysClr val="windowText" lastClr="000000">
                  <a:hueOff val="0"/>
                  <a:satOff val="0"/>
                  <a:lumOff val="0"/>
                  <a:alphaOff val="0"/>
                </a:sysClr>
              </a:solidFill>
              <a:latin typeface="Calibri" panose="020F0502020204030204"/>
              <a:ea typeface="+mn-ea"/>
              <a:cs typeface="+mn-cs"/>
            </a:rPr>
            <a:t>Gelecek İnşa Etmek</a:t>
          </a:r>
        </a:p>
      </dsp:txBody>
      <dsp:txXfrm>
        <a:off x="1107851" y="8696"/>
        <a:ext cx="857659" cy="857659"/>
      </dsp:txXfrm>
    </dsp:sp>
    <dsp:sp modelId="{F28E5622-BB62-4E43-8830-9B210442395F}">
      <dsp:nvSpPr>
        <dsp:cNvPr id="0" name=""/>
        <dsp:cNvSpPr/>
      </dsp:nvSpPr>
      <dsp:spPr>
        <a:xfrm>
          <a:off x="397172" y="-437"/>
          <a:ext cx="4195676" cy="4195676"/>
        </a:xfrm>
        <a:prstGeom prst="circularArrow">
          <a:avLst>
            <a:gd name="adj1" fmla="val 3990"/>
            <a:gd name="adj2" fmla="val 250290"/>
            <a:gd name="adj3" fmla="val 16911114"/>
            <a:gd name="adj4" fmla="val 15238596"/>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6865DB-A1D8-4B36-B2BD-20A6088C401F}">
      <dsp:nvSpPr>
        <dsp:cNvPr id="0" name=""/>
        <dsp:cNvSpPr/>
      </dsp:nvSpPr>
      <dsp:spPr>
        <a:xfrm>
          <a:off x="729433" y="188221"/>
          <a:ext cx="2762774" cy="2762774"/>
        </a:xfrm>
        <a:prstGeom prst="pie">
          <a:avLst>
            <a:gd name="adj1" fmla="val 16200000"/>
            <a:gd name="adj2" fmla="val 198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tr-TR" sz="700" b="1" kern="1200" dirty="0">
              <a:solidFill>
                <a:sysClr val="window" lastClr="FFFFFF"/>
              </a:solidFill>
              <a:latin typeface="Calibri" panose="020F0502020204030204"/>
              <a:ea typeface="+mn-ea"/>
              <a:cs typeface="+mn-cs"/>
            </a:rPr>
            <a:t>Uyumluluk ve Bütünlük (</a:t>
          </a:r>
          <a:r>
            <a:rPr lang="tr-TR" sz="700" b="1" kern="1200" dirty="0" err="1">
              <a:solidFill>
                <a:sysClr val="window" lastClr="FFFFFF"/>
              </a:solidFill>
              <a:latin typeface="Calibri" panose="020F0502020204030204"/>
              <a:ea typeface="+mn-ea"/>
              <a:cs typeface="+mn-cs"/>
            </a:rPr>
            <a:t>Compliance</a:t>
          </a:r>
          <a:r>
            <a:rPr lang="tr-TR" sz="700" b="1" kern="1200" dirty="0">
              <a:solidFill>
                <a:sysClr val="window" lastClr="FFFFFF"/>
              </a:solidFill>
              <a:latin typeface="Calibri" panose="020F0502020204030204"/>
              <a:ea typeface="+mn-ea"/>
              <a:cs typeface="+mn-cs"/>
            </a:rPr>
            <a:t> </a:t>
          </a:r>
          <a:r>
            <a:rPr lang="tr-TR" sz="700" b="1" kern="1200" dirty="0" err="1">
              <a:solidFill>
                <a:sysClr val="window" lastClr="FFFFFF"/>
              </a:solidFill>
              <a:latin typeface="Calibri" panose="020F0502020204030204"/>
              <a:ea typeface="+mn-ea"/>
              <a:cs typeface="+mn-cs"/>
            </a:rPr>
            <a:t>and</a:t>
          </a:r>
          <a:r>
            <a:rPr lang="tr-TR" sz="700" b="1" kern="1200" dirty="0">
              <a:solidFill>
                <a:sysClr val="window" lastClr="FFFFFF"/>
              </a:solidFill>
              <a:latin typeface="Calibri" panose="020F0502020204030204"/>
              <a:ea typeface="+mn-ea"/>
              <a:cs typeface="+mn-cs"/>
            </a:rPr>
            <a:t> </a:t>
          </a:r>
          <a:r>
            <a:rPr lang="tr-TR" sz="700" b="1" kern="1200" dirty="0" err="1">
              <a:solidFill>
                <a:sysClr val="window" lastClr="FFFFFF"/>
              </a:solidFill>
              <a:latin typeface="Calibri" panose="020F0502020204030204"/>
              <a:ea typeface="+mn-ea"/>
              <a:cs typeface="+mn-cs"/>
            </a:rPr>
            <a:t>Integrity</a:t>
          </a:r>
          <a:r>
            <a:rPr lang="tr-TR" sz="700" b="1" kern="1200" dirty="0">
              <a:solidFill>
                <a:sysClr val="window" lastClr="FFFFFF"/>
              </a:solidFill>
              <a:latin typeface="Calibri" panose="020F0502020204030204"/>
              <a:ea typeface="+mn-ea"/>
              <a:cs typeface="+mn-cs"/>
            </a:rPr>
            <a:t>)</a:t>
          </a:r>
        </a:p>
      </dsp:txBody>
      <dsp:txXfrm>
        <a:off x="2282567" y="623015"/>
        <a:ext cx="511651" cy="395366"/>
      </dsp:txXfrm>
    </dsp:sp>
    <dsp:sp modelId="{1011F591-0B8D-4D58-A388-F5B5E4F5871A}">
      <dsp:nvSpPr>
        <dsp:cNvPr id="0" name=""/>
        <dsp:cNvSpPr/>
      </dsp:nvSpPr>
      <dsp:spPr>
        <a:xfrm>
          <a:off x="762323" y="245121"/>
          <a:ext cx="2762774" cy="2762774"/>
        </a:xfrm>
        <a:prstGeom prst="pie">
          <a:avLst>
            <a:gd name="adj1" fmla="val 19800000"/>
            <a:gd name="adj2" fmla="val 18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tr-TR" sz="800" b="1" kern="1200">
              <a:solidFill>
                <a:sysClr val="window" lastClr="FFFFFF"/>
              </a:solidFill>
              <a:latin typeface="Calibri" panose="020F0502020204030204"/>
              <a:ea typeface="+mn-ea"/>
              <a:cs typeface="+mn-cs"/>
            </a:rPr>
            <a:t>Varlık Çıktısı (Asset output)</a:t>
          </a:r>
        </a:p>
      </dsp:txBody>
      <dsp:txXfrm>
        <a:off x="2747846" y="1442862"/>
        <a:ext cx="534907" cy="383737"/>
      </dsp:txXfrm>
    </dsp:sp>
    <dsp:sp modelId="{1813160A-07B0-4E09-B498-962F085E245B}">
      <dsp:nvSpPr>
        <dsp:cNvPr id="0" name=""/>
        <dsp:cNvSpPr/>
      </dsp:nvSpPr>
      <dsp:spPr>
        <a:xfrm>
          <a:off x="729433" y="302021"/>
          <a:ext cx="2762774" cy="2762774"/>
        </a:xfrm>
        <a:prstGeom prst="pie">
          <a:avLst>
            <a:gd name="adj1" fmla="val 1800000"/>
            <a:gd name="adj2" fmla="val 54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tr-TR" sz="800" b="1" kern="1200">
              <a:solidFill>
                <a:sysClr val="window" lastClr="FFFFFF"/>
              </a:solidFill>
              <a:latin typeface="Calibri" panose="020F0502020204030204"/>
              <a:ea typeface="+mn-ea"/>
              <a:cs typeface="+mn-cs"/>
            </a:rPr>
            <a:t>Maliyet (Cost)</a:t>
          </a:r>
        </a:p>
      </dsp:txBody>
      <dsp:txXfrm>
        <a:off x="2282567" y="2251079"/>
        <a:ext cx="511651" cy="395366"/>
      </dsp:txXfrm>
    </dsp:sp>
    <dsp:sp modelId="{9195F98F-C504-412F-ABD3-3E68E6D44219}">
      <dsp:nvSpPr>
        <dsp:cNvPr id="0" name=""/>
        <dsp:cNvSpPr/>
      </dsp:nvSpPr>
      <dsp:spPr>
        <a:xfrm>
          <a:off x="663653" y="302021"/>
          <a:ext cx="2762774" cy="2762774"/>
        </a:xfrm>
        <a:prstGeom prst="pie">
          <a:avLst>
            <a:gd name="adj1" fmla="val 5400000"/>
            <a:gd name="adj2" fmla="val 90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tr-TR" sz="800" b="1" kern="1200">
              <a:solidFill>
                <a:sysClr val="window" lastClr="FFFFFF"/>
              </a:solidFill>
              <a:latin typeface="Calibri" panose="020F0502020204030204"/>
              <a:ea typeface="+mn-ea"/>
              <a:cs typeface="+mn-cs"/>
            </a:rPr>
            <a:t>Varlık Girdisi (Asset input)</a:t>
          </a:r>
        </a:p>
      </dsp:txBody>
      <dsp:txXfrm>
        <a:off x="1361642" y="2251079"/>
        <a:ext cx="511651" cy="395366"/>
      </dsp:txXfrm>
    </dsp:sp>
    <dsp:sp modelId="{8FD70192-FCA8-4474-BEAA-9A77238E8C22}">
      <dsp:nvSpPr>
        <dsp:cNvPr id="0" name=""/>
        <dsp:cNvSpPr/>
      </dsp:nvSpPr>
      <dsp:spPr>
        <a:xfrm>
          <a:off x="630763" y="245121"/>
          <a:ext cx="2762774" cy="2762774"/>
        </a:xfrm>
        <a:prstGeom prst="pie">
          <a:avLst>
            <a:gd name="adj1" fmla="val 9000000"/>
            <a:gd name="adj2" fmla="val 126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tr-TR" sz="800" b="1" kern="1200">
              <a:solidFill>
                <a:sysClr val="window" lastClr="FFFFFF"/>
              </a:solidFill>
              <a:latin typeface="Calibri" panose="020F0502020204030204"/>
              <a:ea typeface="+mn-ea"/>
              <a:cs typeface="+mn-cs"/>
            </a:rPr>
            <a:t>Varlık yaşam Döngüsü</a:t>
          </a:r>
        </a:p>
      </dsp:txBody>
      <dsp:txXfrm>
        <a:off x="873106" y="1442862"/>
        <a:ext cx="534907" cy="383737"/>
      </dsp:txXfrm>
    </dsp:sp>
    <dsp:sp modelId="{674C9EFD-04BC-477C-ADA3-62D09C4F559E}">
      <dsp:nvSpPr>
        <dsp:cNvPr id="0" name=""/>
        <dsp:cNvSpPr/>
      </dsp:nvSpPr>
      <dsp:spPr>
        <a:xfrm>
          <a:off x="663653" y="188221"/>
          <a:ext cx="2762774" cy="2762774"/>
        </a:xfrm>
        <a:prstGeom prst="pie">
          <a:avLst>
            <a:gd name="adj1" fmla="val 12600000"/>
            <a:gd name="adj2" fmla="val 16200000"/>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tr-TR" sz="800" b="1" kern="1200" dirty="0" err="1">
              <a:solidFill>
                <a:sysClr val="window" lastClr="FFFFFF"/>
              </a:solidFill>
              <a:latin typeface="Calibri" panose="020F0502020204030204"/>
              <a:ea typeface="+mn-ea"/>
              <a:cs typeface="+mn-cs"/>
            </a:rPr>
            <a:t>İnovasyon</a:t>
          </a:r>
          <a:r>
            <a:rPr lang="tr-TR" sz="800" b="1" kern="1200" dirty="0">
              <a:solidFill>
                <a:sysClr val="window" lastClr="FFFFFF"/>
              </a:solidFill>
              <a:latin typeface="Calibri" panose="020F0502020204030204"/>
              <a:ea typeface="+mn-ea"/>
              <a:cs typeface="+mn-cs"/>
            </a:rPr>
            <a:t> ve İyileştirme</a:t>
          </a:r>
        </a:p>
      </dsp:txBody>
      <dsp:txXfrm>
        <a:off x="1361642" y="623015"/>
        <a:ext cx="511651" cy="395366"/>
      </dsp:txXfrm>
    </dsp:sp>
    <dsp:sp modelId="{7D05639B-CC6F-45D5-B3F6-E1EC1BDECE17}">
      <dsp:nvSpPr>
        <dsp:cNvPr id="0" name=""/>
        <dsp:cNvSpPr/>
      </dsp:nvSpPr>
      <dsp:spPr>
        <a:xfrm>
          <a:off x="558303" y="17192"/>
          <a:ext cx="3104832" cy="3104832"/>
        </a:xfrm>
        <a:prstGeom prst="circularArrow">
          <a:avLst>
            <a:gd name="adj1" fmla="val 5085"/>
            <a:gd name="adj2" fmla="val 327528"/>
            <a:gd name="adj3" fmla="val 19472472"/>
            <a:gd name="adj4" fmla="val 16200251"/>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5AD6318-E5B0-43B1-A1F0-3534026C21A0}">
      <dsp:nvSpPr>
        <dsp:cNvPr id="0" name=""/>
        <dsp:cNvSpPr/>
      </dsp:nvSpPr>
      <dsp:spPr>
        <a:xfrm>
          <a:off x="591193" y="74092"/>
          <a:ext cx="3104832" cy="3104832"/>
        </a:xfrm>
        <a:prstGeom prst="circularArrow">
          <a:avLst>
            <a:gd name="adj1" fmla="val 5085"/>
            <a:gd name="adj2" fmla="val 327528"/>
            <a:gd name="adj3" fmla="val 1472472"/>
            <a:gd name="adj4" fmla="val 19800000"/>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D9F11BD0-3A51-4042-9CF1-5F5476BD18F3}">
      <dsp:nvSpPr>
        <dsp:cNvPr id="0" name=""/>
        <dsp:cNvSpPr/>
      </dsp:nvSpPr>
      <dsp:spPr>
        <a:xfrm>
          <a:off x="558303" y="130992"/>
          <a:ext cx="3104832" cy="3104832"/>
        </a:xfrm>
        <a:prstGeom prst="circularArrow">
          <a:avLst>
            <a:gd name="adj1" fmla="val 5085"/>
            <a:gd name="adj2" fmla="val 327528"/>
            <a:gd name="adj3" fmla="val 5072221"/>
            <a:gd name="adj4" fmla="val 1800000"/>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1820B75B-CD38-46ED-BA7A-CE66F46F27A8}">
      <dsp:nvSpPr>
        <dsp:cNvPr id="0" name=""/>
        <dsp:cNvSpPr/>
      </dsp:nvSpPr>
      <dsp:spPr>
        <a:xfrm>
          <a:off x="492725" y="130992"/>
          <a:ext cx="3104832" cy="3104832"/>
        </a:xfrm>
        <a:prstGeom prst="circularArrow">
          <a:avLst>
            <a:gd name="adj1" fmla="val 5085"/>
            <a:gd name="adj2" fmla="val 327528"/>
            <a:gd name="adj3" fmla="val 8672472"/>
            <a:gd name="adj4" fmla="val 5400251"/>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E36D088E-2B1A-4DE4-9951-E021EDEDA62A}">
      <dsp:nvSpPr>
        <dsp:cNvPr id="0" name=""/>
        <dsp:cNvSpPr/>
      </dsp:nvSpPr>
      <dsp:spPr>
        <a:xfrm>
          <a:off x="459835" y="74092"/>
          <a:ext cx="3104832" cy="3104832"/>
        </a:xfrm>
        <a:prstGeom prst="circularArrow">
          <a:avLst>
            <a:gd name="adj1" fmla="val 5085"/>
            <a:gd name="adj2" fmla="val 327528"/>
            <a:gd name="adj3" fmla="val 12272472"/>
            <a:gd name="adj4" fmla="val 9000000"/>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42EDBA7-978D-4E4C-920E-9FF6BA14C57A}">
      <dsp:nvSpPr>
        <dsp:cNvPr id="0" name=""/>
        <dsp:cNvSpPr/>
      </dsp:nvSpPr>
      <dsp:spPr>
        <a:xfrm>
          <a:off x="492725" y="17192"/>
          <a:ext cx="3104832" cy="3104832"/>
        </a:xfrm>
        <a:prstGeom prst="circularArrow">
          <a:avLst>
            <a:gd name="adj1" fmla="val 5085"/>
            <a:gd name="adj2" fmla="val 327528"/>
            <a:gd name="adj3" fmla="val 15872221"/>
            <a:gd name="adj4" fmla="val 12600000"/>
            <a:gd name="adj5" fmla="val 5932"/>
          </a:avLst>
        </a:prstGeom>
        <a:solidFill>
          <a:srgbClr val="5B9BD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119CE-B955-43BD-A705-4B583672F859}">
      <dsp:nvSpPr>
        <dsp:cNvPr id="0" name=""/>
        <dsp:cNvSpPr/>
      </dsp:nvSpPr>
      <dsp:spPr>
        <a:xfrm>
          <a:off x="2432022" y="2872399"/>
          <a:ext cx="342308" cy="2282924"/>
        </a:xfrm>
        <a:custGeom>
          <a:avLst/>
          <a:gdLst/>
          <a:ahLst/>
          <a:cxnLst/>
          <a:rect l="0" t="0" r="0" b="0"/>
          <a:pathLst>
            <a:path>
              <a:moveTo>
                <a:pt x="0" y="0"/>
              </a:moveTo>
              <a:lnTo>
                <a:pt x="171154" y="0"/>
              </a:lnTo>
              <a:lnTo>
                <a:pt x="171154" y="2282924"/>
              </a:lnTo>
              <a:lnTo>
                <a:pt x="342308" y="22829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tr-TR" sz="800" kern="1200"/>
        </a:p>
      </dsp:txBody>
      <dsp:txXfrm>
        <a:off x="2545465" y="3956150"/>
        <a:ext cx="115422" cy="115422"/>
      </dsp:txXfrm>
    </dsp:sp>
    <dsp:sp modelId="{219EAEAB-5D4B-4058-9BE7-1963E32CD697}">
      <dsp:nvSpPr>
        <dsp:cNvPr id="0" name=""/>
        <dsp:cNvSpPr/>
      </dsp:nvSpPr>
      <dsp:spPr>
        <a:xfrm>
          <a:off x="4485871" y="4503059"/>
          <a:ext cx="342308" cy="326132"/>
        </a:xfrm>
        <a:custGeom>
          <a:avLst/>
          <a:gdLst/>
          <a:ahLst/>
          <a:cxnLst/>
          <a:rect l="0" t="0" r="0" b="0"/>
          <a:pathLst>
            <a:path>
              <a:moveTo>
                <a:pt x="0" y="0"/>
              </a:moveTo>
              <a:lnTo>
                <a:pt x="171154" y="0"/>
              </a:lnTo>
              <a:lnTo>
                <a:pt x="171154" y="326132"/>
              </a:lnTo>
              <a:lnTo>
                <a:pt x="342308" y="3261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4645205" y="4654305"/>
        <a:ext cx="23639" cy="23639"/>
      </dsp:txXfrm>
    </dsp:sp>
    <dsp:sp modelId="{1FB55C85-32DF-41AC-B096-30CE08166C94}">
      <dsp:nvSpPr>
        <dsp:cNvPr id="0" name=""/>
        <dsp:cNvSpPr/>
      </dsp:nvSpPr>
      <dsp:spPr>
        <a:xfrm>
          <a:off x="4485871" y="4176927"/>
          <a:ext cx="342308" cy="326132"/>
        </a:xfrm>
        <a:custGeom>
          <a:avLst/>
          <a:gdLst/>
          <a:ahLst/>
          <a:cxnLst/>
          <a:rect l="0" t="0" r="0" b="0"/>
          <a:pathLst>
            <a:path>
              <a:moveTo>
                <a:pt x="0" y="326132"/>
              </a:moveTo>
              <a:lnTo>
                <a:pt x="171154" y="326132"/>
              </a:lnTo>
              <a:lnTo>
                <a:pt x="171154" y="0"/>
              </a:lnTo>
              <a:lnTo>
                <a:pt x="342308"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4645205" y="4328173"/>
        <a:ext cx="23639" cy="23639"/>
      </dsp:txXfrm>
    </dsp:sp>
    <dsp:sp modelId="{77A1FBF3-3DCF-4057-BC82-C57950E7D81C}">
      <dsp:nvSpPr>
        <dsp:cNvPr id="0" name=""/>
        <dsp:cNvSpPr/>
      </dsp:nvSpPr>
      <dsp:spPr>
        <a:xfrm>
          <a:off x="2432022" y="2872399"/>
          <a:ext cx="342308" cy="1630660"/>
        </a:xfrm>
        <a:custGeom>
          <a:avLst/>
          <a:gdLst/>
          <a:ahLst/>
          <a:cxnLst/>
          <a:rect l="0" t="0" r="0" b="0"/>
          <a:pathLst>
            <a:path>
              <a:moveTo>
                <a:pt x="0" y="0"/>
              </a:moveTo>
              <a:lnTo>
                <a:pt x="171154" y="0"/>
              </a:lnTo>
              <a:lnTo>
                <a:pt x="171154" y="1630660"/>
              </a:lnTo>
              <a:lnTo>
                <a:pt x="342308" y="163066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2561521" y="3646074"/>
        <a:ext cx="83310" cy="83310"/>
      </dsp:txXfrm>
    </dsp:sp>
    <dsp:sp modelId="{2826DC40-8624-4687-9D81-645AF381DD04}">
      <dsp:nvSpPr>
        <dsp:cNvPr id="0" name=""/>
        <dsp:cNvSpPr/>
      </dsp:nvSpPr>
      <dsp:spPr>
        <a:xfrm>
          <a:off x="2432022" y="2872399"/>
          <a:ext cx="342308" cy="978396"/>
        </a:xfrm>
        <a:custGeom>
          <a:avLst/>
          <a:gdLst/>
          <a:ahLst/>
          <a:cxnLst/>
          <a:rect l="0" t="0" r="0" b="0"/>
          <a:pathLst>
            <a:path>
              <a:moveTo>
                <a:pt x="0" y="0"/>
              </a:moveTo>
              <a:lnTo>
                <a:pt x="171154" y="0"/>
              </a:lnTo>
              <a:lnTo>
                <a:pt x="171154" y="978396"/>
              </a:lnTo>
              <a:lnTo>
                <a:pt x="342308" y="97839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2577262" y="3335683"/>
        <a:ext cx="51827" cy="51827"/>
      </dsp:txXfrm>
    </dsp:sp>
    <dsp:sp modelId="{2533D854-F1C4-45DE-B6D2-BCE1D50402E4}">
      <dsp:nvSpPr>
        <dsp:cNvPr id="0" name=""/>
        <dsp:cNvSpPr/>
      </dsp:nvSpPr>
      <dsp:spPr>
        <a:xfrm>
          <a:off x="2432022" y="2872399"/>
          <a:ext cx="342308" cy="326132"/>
        </a:xfrm>
        <a:custGeom>
          <a:avLst/>
          <a:gdLst/>
          <a:ahLst/>
          <a:cxnLst/>
          <a:rect l="0" t="0" r="0" b="0"/>
          <a:pathLst>
            <a:path>
              <a:moveTo>
                <a:pt x="0" y="0"/>
              </a:moveTo>
              <a:lnTo>
                <a:pt x="171154" y="0"/>
              </a:lnTo>
              <a:lnTo>
                <a:pt x="171154" y="326132"/>
              </a:lnTo>
              <a:lnTo>
                <a:pt x="342308" y="3261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2591356" y="3023645"/>
        <a:ext cx="23639" cy="23639"/>
      </dsp:txXfrm>
    </dsp:sp>
    <dsp:sp modelId="{25A2D3E9-51F4-403B-AE90-5EB9897176D3}">
      <dsp:nvSpPr>
        <dsp:cNvPr id="0" name=""/>
        <dsp:cNvSpPr/>
      </dsp:nvSpPr>
      <dsp:spPr>
        <a:xfrm>
          <a:off x="4485871" y="2546267"/>
          <a:ext cx="342308" cy="326132"/>
        </a:xfrm>
        <a:custGeom>
          <a:avLst/>
          <a:gdLst/>
          <a:ahLst/>
          <a:cxnLst/>
          <a:rect l="0" t="0" r="0" b="0"/>
          <a:pathLst>
            <a:path>
              <a:moveTo>
                <a:pt x="0" y="0"/>
              </a:moveTo>
              <a:lnTo>
                <a:pt x="171154" y="0"/>
              </a:lnTo>
              <a:lnTo>
                <a:pt x="171154" y="326132"/>
              </a:lnTo>
              <a:lnTo>
                <a:pt x="342308" y="3261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4645205" y="2697513"/>
        <a:ext cx="23639" cy="23639"/>
      </dsp:txXfrm>
    </dsp:sp>
    <dsp:sp modelId="{720AF1CA-AF3A-46C0-A415-24B472590C7E}">
      <dsp:nvSpPr>
        <dsp:cNvPr id="0" name=""/>
        <dsp:cNvSpPr/>
      </dsp:nvSpPr>
      <dsp:spPr>
        <a:xfrm>
          <a:off x="4485871" y="2220135"/>
          <a:ext cx="342308" cy="326132"/>
        </a:xfrm>
        <a:custGeom>
          <a:avLst/>
          <a:gdLst/>
          <a:ahLst/>
          <a:cxnLst/>
          <a:rect l="0" t="0" r="0" b="0"/>
          <a:pathLst>
            <a:path>
              <a:moveTo>
                <a:pt x="0" y="326132"/>
              </a:moveTo>
              <a:lnTo>
                <a:pt x="171154" y="326132"/>
              </a:lnTo>
              <a:lnTo>
                <a:pt x="171154" y="0"/>
              </a:lnTo>
              <a:lnTo>
                <a:pt x="342308"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4645205" y="2371381"/>
        <a:ext cx="23639" cy="23639"/>
      </dsp:txXfrm>
    </dsp:sp>
    <dsp:sp modelId="{A4526C93-67C0-4A07-B574-73A54B1FD534}">
      <dsp:nvSpPr>
        <dsp:cNvPr id="0" name=""/>
        <dsp:cNvSpPr/>
      </dsp:nvSpPr>
      <dsp:spPr>
        <a:xfrm>
          <a:off x="2432022" y="2546267"/>
          <a:ext cx="342308" cy="326132"/>
        </a:xfrm>
        <a:custGeom>
          <a:avLst/>
          <a:gdLst/>
          <a:ahLst/>
          <a:cxnLst/>
          <a:rect l="0" t="0" r="0" b="0"/>
          <a:pathLst>
            <a:path>
              <a:moveTo>
                <a:pt x="0" y="326132"/>
              </a:moveTo>
              <a:lnTo>
                <a:pt x="171154" y="326132"/>
              </a:lnTo>
              <a:lnTo>
                <a:pt x="171154" y="0"/>
              </a:lnTo>
              <a:lnTo>
                <a:pt x="342308"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2591356" y="2697513"/>
        <a:ext cx="23639" cy="23639"/>
      </dsp:txXfrm>
    </dsp:sp>
    <dsp:sp modelId="{8F3184B9-2FBB-40C6-91AA-AF718D8ADFAF}">
      <dsp:nvSpPr>
        <dsp:cNvPr id="0" name=""/>
        <dsp:cNvSpPr/>
      </dsp:nvSpPr>
      <dsp:spPr>
        <a:xfrm>
          <a:off x="2432022" y="1894003"/>
          <a:ext cx="342308" cy="978396"/>
        </a:xfrm>
        <a:custGeom>
          <a:avLst/>
          <a:gdLst/>
          <a:ahLst/>
          <a:cxnLst/>
          <a:rect l="0" t="0" r="0" b="0"/>
          <a:pathLst>
            <a:path>
              <a:moveTo>
                <a:pt x="0" y="978396"/>
              </a:moveTo>
              <a:lnTo>
                <a:pt x="171154" y="978396"/>
              </a:lnTo>
              <a:lnTo>
                <a:pt x="171154" y="0"/>
              </a:lnTo>
              <a:lnTo>
                <a:pt x="342308"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2577262" y="2357287"/>
        <a:ext cx="51827" cy="51827"/>
      </dsp:txXfrm>
    </dsp:sp>
    <dsp:sp modelId="{8B3C6AD8-2059-44C2-8612-F69A8240989A}">
      <dsp:nvSpPr>
        <dsp:cNvPr id="0" name=""/>
        <dsp:cNvSpPr/>
      </dsp:nvSpPr>
      <dsp:spPr>
        <a:xfrm>
          <a:off x="2432022" y="1241739"/>
          <a:ext cx="342308" cy="1630660"/>
        </a:xfrm>
        <a:custGeom>
          <a:avLst/>
          <a:gdLst/>
          <a:ahLst/>
          <a:cxnLst/>
          <a:rect l="0" t="0" r="0" b="0"/>
          <a:pathLst>
            <a:path>
              <a:moveTo>
                <a:pt x="0" y="1630660"/>
              </a:moveTo>
              <a:lnTo>
                <a:pt x="171154" y="1630660"/>
              </a:lnTo>
              <a:lnTo>
                <a:pt x="171154" y="0"/>
              </a:lnTo>
              <a:lnTo>
                <a:pt x="342308"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2561521" y="2015414"/>
        <a:ext cx="83310" cy="83310"/>
      </dsp:txXfrm>
    </dsp:sp>
    <dsp:sp modelId="{E730F425-2731-4187-983C-08754F66947F}">
      <dsp:nvSpPr>
        <dsp:cNvPr id="0" name=""/>
        <dsp:cNvSpPr/>
      </dsp:nvSpPr>
      <dsp:spPr>
        <a:xfrm>
          <a:off x="4485871" y="589475"/>
          <a:ext cx="342308" cy="326132"/>
        </a:xfrm>
        <a:custGeom>
          <a:avLst/>
          <a:gdLst/>
          <a:ahLst/>
          <a:cxnLst/>
          <a:rect l="0" t="0" r="0" b="0"/>
          <a:pathLst>
            <a:path>
              <a:moveTo>
                <a:pt x="0" y="0"/>
              </a:moveTo>
              <a:lnTo>
                <a:pt x="171154" y="0"/>
              </a:lnTo>
              <a:lnTo>
                <a:pt x="171154" y="326132"/>
              </a:lnTo>
              <a:lnTo>
                <a:pt x="342308" y="3261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4645205" y="740721"/>
        <a:ext cx="23639" cy="23639"/>
      </dsp:txXfrm>
    </dsp:sp>
    <dsp:sp modelId="{34AA2E45-D977-48D6-A8C9-68D472D04787}">
      <dsp:nvSpPr>
        <dsp:cNvPr id="0" name=""/>
        <dsp:cNvSpPr/>
      </dsp:nvSpPr>
      <dsp:spPr>
        <a:xfrm>
          <a:off x="4485871" y="263343"/>
          <a:ext cx="342308" cy="326132"/>
        </a:xfrm>
        <a:custGeom>
          <a:avLst/>
          <a:gdLst/>
          <a:ahLst/>
          <a:cxnLst/>
          <a:rect l="0" t="0" r="0" b="0"/>
          <a:pathLst>
            <a:path>
              <a:moveTo>
                <a:pt x="0" y="326132"/>
              </a:moveTo>
              <a:lnTo>
                <a:pt x="171154" y="326132"/>
              </a:lnTo>
              <a:lnTo>
                <a:pt x="171154" y="0"/>
              </a:lnTo>
              <a:lnTo>
                <a:pt x="342308" y="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tr-TR" sz="500" kern="1200"/>
        </a:p>
      </dsp:txBody>
      <dsp:txXfrm>
        <a:off x="4645205" y="414589"/>
        <a:ext cx="23639" cy="23639"/>
      </dsp:txXfrm>
    </dsp:sp>
    <dsp:sp modelId="{7F9A79E6-10A7-45C5-8044-C49207F6F1A3}">
      <dsp:nvSpPr>
        <dsp:cNvPr id="0" name=""/>
        <dsp:cNvSpPr/>
      </dsp:nvSpPr>
      <dsp:spPr>
        <a:xfrm>
          <a:off x="2432022" y="589475"/>
          <a:ext cx="342308" cy="2282924"/>
        </a:xfrm>
        <a:custGeom>
          <a:avLst/>
          <a:gdLst/>
          <a:ahLst/>
          <a:cxnLst/>
          <a:rect l="0" t="0" r="0" b="0"/>
          <a:pathLst>
            <a:path>
              <a:moveTo>
                <a:pt x="0" y="2282924"/>
              </a:moveTo>
              <a:lnTo>
                <a:pt x="171154" y="2282924"/>
              </a:lnTo>
              <a:lnTo>
                <a:pt x="171154" y="0"/>
              </a:lnTo>
              <a:lnTo>
                <a:pt x="342308"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tr-TR" sz="800" kern="1200"/>
        </a:p>
      </dsp:txBody>
      <dsp:txXfrm>
        <a:off x="2545465" y="1673226"/>
        <a:ext cx="115422" cy="115422"/>
      </dsp:txXfrm>
    </dsp:sp>
    <dsp:sp modelId="{3FA77CE1-0DC7-442D-BF4A-22C6AFCC2A2F}">
      <dsp:nvSpPr>
        <dsp:cNvPr id="0" name=""/>
        <dsp:cNvSpPr/>
      </dsp:nvSpPr>
      <dsp:spPr>
        <a:xfrm rot="16200000">
          <a:off x="-117012" y="2450528"/>
          <a:ext cx="4254327" cy="8437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tr-TR" sz="2700" kern="1200" dirty="0" err="1"/>
            <a:t>Kestirimci</a:t>
          </a:r>
          <a:r>
            <a:rPr lang="tr-TR" sz="2700" kern="1200" dirty="0"/>
            <a:t> Bakım Uygulamaları</a:t>
          </a:r>
        </a:p>
      </dsp:txBody>
      <dsp:txXfrm>
        <a:off x="-117012" y="2450528"/>
        <a:ext cx="4254327" cy="843742"/>
      </dsp:txXfrm>
    </dsp:sp>
    <dsp:sp modelId="{9F517A26-CCB9-473A-9EA9-BE412A2D5D93}">
      <dsp:nvSpPr>
        <dsp:cNvPr id="0" name=""/>
        <dsp:cNvSpPr/>
      </dsp:nvSpPr>
      <dsp:spPr>
        <a:xfrm>
          <a:off x="2774330" y="328569"/>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Titreşim Ölçümleri</a:t>
          </a:r>
        </a:p>
      </dsp:txBody>
      <dsp:txXfrm>
        <a:off x="2774330" y="328569"/>
        <a:ext cx="1711541" cy="521811"/>
      </dsp:txXfrm>
    </dsp:sp>
    <dsp:sp modelId="{1AAC827F-C649-4B0D-9023-1A964D9F89F6}">
      <dsp:nvSpPr>
        <dsp:cNvPr id="0" name=""/>
        <dsp:cNvSpPr/>
      </dsp:nvSpPr>
      <dsp:spPr>
        <a:xfrm>
          <a:off x="4828179" y="2437"/>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Offline</a:t>
          </a:r>
        </a:p>
      </dsp:txBody>
      <dsp:txXfrm>
        <a:off x="4828179" y="2437"/>
        <a:ext cx="1711541" cy="521811"/>
      </dsp:txXfrm>
    </dsp:sp>
    <dsp:sp modelId="{4F91AB56-4F12-4FC9-AE0B-5FCBC77CBBC5}">
      <dsp:nvSpPr>
        <dsp:cNvPr id="0" name=""/>
        <dsp:cNvSpPr/>
      </dsp:nvSpPr>
      <dsp:spPr>
        <a:xfrm>
          <a:off x="4828179" y="654701"/>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Online</a:t>
          </a:r>
        </a:p>
      </dsp:txBody>
      <dsp:txXfrm>
        <a:off x="4828179" y="654701"/>
        <a:ext cx="1711541" cy="521811"/>
      </dsp:txXfrm>
    </dsp:sp>
    <dsp:sp modelId="{FFB8450F-10F8-49A5-AD14-D87375775CB6}">
      <dsp:nvSpPr>
        <dsp:cNvPr id="0" name=""/>
        <dsp:cNvSpPr/>
      </dsp:nvSpPr>
      <dsp:spPr>
        <a:xfrm>
          <a:off x="2774330" y="980833"/>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err="1"/>
            <a:t>Ultrasound</a:t>
          </a:r>
          <a:endParaRPr lang="tr-TR" sz="1700" kern="1200" dirty="0"/>
        </a:p>
      </dsp:txBody>
      <dsp:txXfrm>
        <a:off x="2774330" y="980833"/>
        <a:ext cx="1711541" cy="521811"/>
      </dsp:txXfrm>
    </dsp:sp>
    <dsp:sp modelId="{3A0AA83D-E49C-4589-AF20-44D019E34A7A}">
      <dsp:nvSpPr>
        <dsp:cNvPr id="0" name=""/>
        <dsp:cNvSpPr/>
      </dsp:nvSpPr>
      <dsp:spPr>
        <a:xfrm>
          <a:off x="2774330" y="1633097"/>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Yağlama</a:t>
          </a:r>
        </a:p>
      </dsp:txBody>
      <dsp:txXfrm>
        <a:off x="2774330" y="1633097"/>
        <a:ext cx="1711541" cy="521811"/>
      </dsp:txXfrm>
    </dsp:sp>
    <dsp:sp modelId="{CE17D01B-A0BC-4CEA-A24A-F6A727694078}">
      <dsp:nvSpPr>
        <dsp:cNvPr id="0" name=""/>
        <dsp:cNvSpPr/>
      </dsp:nvSpPr>
      <dsp:spPr>
        <a:xfrm>
          <a:off x="2774330" y="2285361"/>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err="1"/>
            <a:t>Steam</a:t>
          </a:r>
          <a:r>
            <a:rPr lang="tr-TR" sz="1700" kern="1200" dirty="0"/>
            <a:t> Trap</a:t>
          </a:r>
        </a:p>
      </dsp:txBody>
      <dsp:txXfrm>
        <a:off x="2774330" y="2285361"/>
        <a:ext cx="1711541" cy="521811"/>
      </dsp:txXfrm>
    </dsp:sp>
    <dsp:sp modelId="{BEE7196F-4FFF-4BF5-93A9-7C99791B7A2D}">
      <dsp:nvSpPr>
        <dsp:cNvPr id="0" name=""/>
        <dsp:cNvSpPr/>
      </dsp:nvSpPr>
      <dsp:spPr>
        <a:xfrm>
          <a:off x="4828179" y="1959229"/>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Offline</a:t>
          </a:r>
        </a:p>
      </dsp:txBody>
      <dsp:txXfrm>
        <a:off x="4828179" y="1959229"/>
        <a:ext cx="1711541" cy="521811"/>
      </dsp:txXfrm>
    </dsp:sp>
    <dsp:sp modelId="{1C911E8F-5D18-4BC2-BA16-74479965C24A}">
      <dsp:nvSpPr>
        <dsp:cNvPr id="0" name=""/>
        <dsp:cNvSpPr/>
      </dsp:nvSpPr>
      <dsp:spPr>
        <a:xfrm>
          <a:off x="4828179" y="2611493"/>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Online</a:t>
          </a:r>
        </a:p>
      </dsp:txBody>
      <dsp:txXfrm>
        <a:off x="4828179" y="2611493"/>
        <a:ext cx="1711541" cy="521811"/>
      </dsp:txXfrm>
    </dsp:sp>
    <dsp:sp modelId="{DB33BA45-4DD2-4E60-9A30-936E11BF094B}">
      <dsp:nvSpPr>
        <dsp:cNvPr id="0" name=""/>
        <dsp:cNvSpPr/>
      </dsp:nvSpPr>
      <dsp:spPr>
        <a:xfrm>
          <a:off x="2774330" y="2937625"/>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Akıllı Araçlar ve  Analiz Sistemleri</a:t>
          </a:r>
        </a:p>
      </dsp:txBody>
      <dsp:txXfrm>
        <a:off x="2774330" y="2937625"/>
        <a:ext cx="1711541" cy="521811"/>
      </dsp:txXfrm>
    </dsp:sp>
    <dsp:sp modelId="{E0F5FDFE-244D-436A-8DDB-7CA6B22387C6}">
      <dsp:nvSpPr>
        <dsp:cNvPr id="0" name=""/>
        <dsp:cNvSpPr/>
      </dsp:nvSpPr>
      <dsp:spPr>
        <a:xfrm>
          <a:off x="2774330" y="3589890"/>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Termal Kamera</a:t>
          </a:r>
        </a:p>
      </dsp:txBody>
      <dsp:txXfrm>
        <a:off x="2774330" y="3589890"/>
        <a:ext cx="1711541" cy="521811"/>
      </dsp:txXfrm>
    </dsp:sp>
    <dsp:sp modelId="{E267A4A9-CD7B-49CD-A011-30D14BDA8A84}">
      <dsp:nvSpPr>
        <dsp:cNvPr id="0" name=""/>
        <dsp:cNvSpPr/>
      </dsp:nvSpPr>
      <dsp:spPr>
        <a:xfrm>
          <a:off x="2774330" y="4242154"/>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Motor </a:t>
          </a:r>
          <a:r>
            <a:rPr lang="tr-TR" sz="1700" kern="1200" dirty="0" err="1"/>
            <a:t>Condition</a:t>
          </a:r>
          <a:r>
            <a:rPr lang="tr-TR" sz="1700" kern="1200" dirty="0"/>
            <a:t> </a:t>
          </a:r>
          <a:r>
            <a:rPr lang="tr-TR" sz="1700" kern="1200" dirty="0" err="1"/>
            <a:t>Monitoring</a:t>
          </a:r>
          <a:endParaRPr lang="tr-TR" sz="1700" kern="1200" dirty="0"/>
        </a:p>
      </dsp:txBody>
      <dsp:txXfrm>
        <a:off x="2774330" y="4242154"/>
        <a:ext cx="1711541" cy="521811"/>
      </dsp:txXfrm>
    </dsp:sp>
    <dsp:sp modelId="{08D2E524-0B19-4990-ADCF-46E9AD2DCD3C}">
      <dsp:nvSpPr>
        <dsp:cNvPr id="0" name=""/>
        <dsp:cNvSpPr/>
      </dsp:nvSpPr>
      <dsp:spPr>
        <a:xfrm>
          <a:off x="4828179" y="3916022"/>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Offline</a:t>
          </a:r>
        </a:p>
      </dsp:txBody>
      <dsp:txXfrm>
        <a:off x="4828179" y="3916022"/>
        <a:ext cx="1711541" cy="521811"/>
      </dsp:txXfrm>
    </dsp:sp>
    <dsp:sp modelId="{3607A185-DDDB-4135-AE2B-030332CA9882}">
      <dsp:nvSpPr>
        <dsp:cNvPr id="0" name=""/>
        <dsp:cNvSpPr/>
      </dsp:nvSpPr>
      <dsp:spPr>
        <a:xfrm>
          <a:off x="4828179" y="4568286"/>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Online</a:t>
          </a:r>
        </a:p>
      </dsp:txBody>
      <dsp:txXfrm>
        <a:off x="4828179" y="4568286"/>
        <a:ext cx="1711541" cy="521811"/>
      </dsp:txXfrm>
    </dsp:sp>
    <dsp:sp modelId="{05BCE626-CC17-42B6-BFEF-35A5F7E6AE52}">
      <dsp:nvSpPr>
        <dsp:cNvPr id="0" name=""/>
        <dsp:cNvSpPr/>
      </dsp:nvSpPr>
      <dsp:spPr>
        <a:xfrm>
          <a:off x="2774330" y="4894418"/>
          <a:ext cx="1711541" cy="5218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tr-TR" sz="1700" kern="1200" dirty="0"/>
            <a:t>Gelecek Uygulamalar</a:t>
          </a:r>
        </a:p>
      </dsp:txBody>
      <dsp:txXfrm>
        <a:off x="2774330" y="4894418"/>
        <a:ext cx="1711541" cy="521811"/>
      </dsp:txXfrm>
    </dsp:sp>
  </dsp:spTree>
</dsp:drawing>
</file>

<file path=ppt/diagrams/layout1.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AD464D-12DA-4542-9398-E7B8DD0E198C}" type="datetimeFigureOut">
              <a:rPr lang="tr-TR" smtClean="0"/>
              <a:t>3.05.2023</a:t>
            </a:fld>
            <a:endParaRPr lang="tr-T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202CEE-6E67-446E-8E70-77F2F8E3FE34}" type="slidenum">
              <a:rPr lang="tr-TR" smtClean="0"/>
              <a:t>‹#›</a:t>
            </a:fld>
            <a:endParaRPr lang="tr-TR"/>
          </a:p>
        </p:txBody>
      </p:sp>
    </p:spTree>
    <p:extLst>
      <p:ext uri="{BB962C8B-B14F-4D97-AF65-F5344CB8AC3E}">
        <p14:creationId xmlns:p14="http://schemas.microsoft.com/office/powerpoint/2010/main" val="1958149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12202CEE-6E67-446E-8E70-77F2F8E3FE34}" type="slidenum">
              <a:rPr lang="tr-TR" smtClean="0"/>
              <a:t>3</a:t>
            </a:fld>
            <a:endParaRPr lang="tr-TR"/>
          </a:p>
        </p:txBody>
      </p:sp>
    </p:spTree>
    <p:extLst>
      <p:ext uri="{BB962C8B-B14F-4D97-AF65-F5344CB8AC3E}">
        <p14:creationId xmlns:p14="http://schemas.microsoft.com/office/powerpoint/2010/main" val="2432079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12202CEE-6E67-446E-8E70-77F2F8E3FE34}" type="slidenum">
              <a:rPr lang="tr-TR" smtClean="0"/>
              <a:t>4</a:t>
            </a:fld>
            <a:endParaRPr lang="tr-TR"/>
          </a:p>
        </p:txBody>
      </p:sp>
    </p:spTree>
    <p:extLst>
      <p:ext uri="{BB962C8B-B14F-4D97-AF65-F5344CB8AC3E}">
        <p14:creationId xmlns:p14="http://schemas.microsoft.com/office/powerpoint/2010/main" val="3124446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12202CEE-6E67-446E-8E70-77F2F8E3FE34}" type="slidenum">
              <a:rPr lang="tr-TR" smtClean="0"/>
              <a:t>5</a:t>
            </a:fld>
            <a:endParaRPr lang="tr-TR"/>
          </a:p>
        </p:txBody>
      </p:sp>
    </p:spTree>
    <p:extLst>
      <p:ext uri="{BB962C8B-B14F-4D97-AF65-F5344CB8AC3E}">
        <p14:creationId xmlns:p14="http://schemas.microsoft.com/office/powerpoint/2010/main" val="22368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12202CEE-6E67-446E-8E70-77F2F8E3FE34}" type="slidenum">
              <a:rPr lang="tr-TR" smtClean="0"/>
              <a:t>7</a:t>
            </a:fld>
            <a:endParaRPr lang="tr-TR"/>
          </a:p>
        </p:txBody>
      </p:sp>
    </p:spTree>
    <p:extLst>
      <p:ext uri="{BB962C8B-B14F-4D97-AF65-F5344CB8AC3E}">
        <p14:creationId xmlns:p14="http://schemas.microsoft.com/office/powerpoint/2010/main" val="340654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12202CEE-6E67-446E-8E70-77F2F8E3FE34}" type="slidenum">
              <a:rPr lang="tr-TR" smtClean="0"/>
              <a:t>8</a:t>
            </a:fld>
            <a:endParaRPr lang="tr-TR"/>
          </a:p>
        </p:txBody>
      </p:sp>
    </p:spTree>
    <p:extLst>
      <p:ext uri="{BB962C8B-B14F-4D97-AF65-F5344CB8AC3E}">
        <p14:creationId xmlns:p14="http://schemas.microsoft.com/office/powerpoint/2010/main" val="2402763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5"/>
          </p:nvPr>
        </p:nvSpPr>
        <p:spPr/>
        <p:txBody>
          <a:bodyPr/>
          <a:lstStyle/>
          <a:p>
            <a:fld id="{12202CEE-6E67-446E-8E70-77F2F8E3FE34}" type="slidenum">
              <a:rPr lang="tr-TR" smtClean="0"/>
              <a:t>9</a:t>
            </a:fld>
            <a:endParaRPr lang="tr-TR"/>
          </a:p>
        </p:txBody>
      </p:sp>
    </p:spTree>
    <p:extLst>
      <p:ext uri="{BB962C8B-B14F-4D97-AF65-F5344CB8AC3E}">
        <p14:creationId xmlns:p14="http://schemas.microsoft.com/office/powerpoint/2010/main" val="17213310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5"/>
          </p:nvPr>
        </p:nvSpPr>
        <p:spPr/>
        <p:txBody>
          <a:bodyPr/>
          <a:lstStyle/>
          <a:p>
            <a:fld id="{12202CEE-6E67-446E-8E70-77F2F8E3FE34}" type="slidenum">
              <a:rPr lang="tr-TR" smtClean="0"/>
              <a:t>17</a:t>
            </a:fld>
            <a:endParaRPr lang="tr-TR"/>
          </a:p>
        </p:txBody>
      </p:sp>
    </p:spTree>
    <p:extLst>
      <p:ext uri="{BB962C8B-B14F-4D97-AF65-F5344CB8AC3E}">
        <p14:creationId xmlns:p14="http://schemas.microsoft.com/office/powerpoint/2010/main" val="2966385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tr-TR" dirty="0"/>
              <a:t>Sistem alarm noktası </a:t>
            </a:r>
            <a:r>
              <a:rPr lang="tr-TR" dirty="0" err="1"/>
              <a:t>koyuyup</a:t>
            </a:r>
            <a:r>
              <a:rPr lang="tr-TR" dirty="0"/>
              <a:t> takip</a:t>
            </a:r>
          </a:p>
          <a:p>
            <a:pPr marL="228600" indent="-228600">
              <a:buAutoNum type="arabicPeriod"/>
            </a:pPr>
            <a:r>
              <a:rPr lang="tr-TR" dirty="0"/>
              <a:t>Sistem ise standart </a:t>
            </a:r>
            <a:r>
              <a:rPr lang="tr-TR" dirty="0" err="1"/>
              <a:t>devition</a:t>
            </a:r>
            <a:r>
              <a:rPr lang="tr-TR" dirty="0"/>
              <a:t> takibi ama bu takip aralığını son ölçümlere göre sabit tutar. Bu da hatalara neden olur, örneğin 520GT de </a:t>
            </a:r>
            <a:r>
              <a:rPr lang="tr-TR" dirty="0" err="1"/>
              <a:t>unload</a:t>
            </a:r>
            <a:r>
              <a:rPr lang="tr-TR" dirty="0"/>
              <a:t> </a:t>
            </a:r>
            <a:r>
              <a:rPr lang="tr-TR" dirty="0" err="1"/>
              <a:t>modda</a:t>
            </a:r>
            <a:r>
              <a:rPr lang="tr-TR" dirty="0"/>
              <a:t> aldığımız ölçümler nedeniyle </a:t>
            </a:r>
            <a:r>
              <a:rPr lang="tr-TR" dirty="0" err="1"/>
              <a:t>türnin</a:t>
            </a:r>
            <a:r>
              <a:rPr lang="tr-TR" dirty="0"/>
              <a:t> yüke girdiği zaman alarma düştü. </a:t>
            </a:r>
          </a:p>
          <a:p>
            <a:pPr marL="228600" indent="-228600">
              <a:buAutoNum type="arabicPeriod"/>
            </a:pPr>
            <a:r>
              <a:rPr lang="tr-TR" dirty="0"/>
              <a:t>Bu sistemle ise model içerisindeki değişimlere göre </a:t>
            </a:r>
            <a:r>
              <a:rPr lang="tr-TR" dirty="0" err="1"/>
              <a:t>dynamic</a:t>
            </a:r>
            <a:r>
              <a:rPr lang="tr-TR" dirty="0"/>
              <a:t> </a:t>
            </a:r>
            <a:r>
              <a:rPr lang="tr-TR" dirty="0" err="1"/>
              <a:t>band</a:t>
            </a:r>
            <a:r>
              <a:rPr lang="tr-TR" dirty="0"/>
              <a:t> hareketlidir. </a:t>
            </a:r>
          </a:p>
          <a:p>
            <a:endParaRPr lang="tr-TR" dirty="0"/>
          </a:p>
        </p:txBody>
      </p:sp>
      <p:sp>
        <p:nvSpPr>
          <p:cNvPr id="4" name="Slide Number Placeholder 3"/>
          <p:cNvSpPr>
            <a:spLocks noGrp="1"/>
          </p:cNvSpPr>
          <p:nvPr>
            <p:ph type="sldNum" sz="quarter" idx="5"/>
          </p:nvPr>
        </p:nvSpPr>
        <p:spPr/>
        <p:txBody>
          <a:bodyPr/>
          <a:lstStyle/>
          <a:p>
            <a:fld id="{12202CEE-6E67-446E-8E70-77F2F8E3FE34}" type="slidenum">
              <a:rPr lang="tr-TR" smtClean="0"/>
              <a:t>18</a:t>
            </a:fld>
            <a:endParaRPr lang="tr-TR"/>
          </a:p>
        </p:txBody>
      </p:sp>
    </p:spTree>
    <p:extLst>
      <p:ext uri="{BB962C8B-B14F-4D97-AF65-F5344CB8AC3E}">
        <p14:creationId xmlns:p14="http://schemas.microsoft.com/office/powerpoint/2010/main" val="1673005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C9688-01DB-46C0-8F18-0AEC9F2D8F6D}"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017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81998CC-E665-AB67-023E-FFD246FEB241}"/>
              </a:ext>
            </a:extLst>
          </p:cNvPr>
          <p:cNvSpPr>
            <a:spLocks noGrp="1"/>
          </p:cNvSpPr>
          <p:nvPr>
            <p:ph type="ctrTitle"/>
          </p:nvPr>
        </p:nvSpPr>
        <p:spPr>
          <a:xfrm>
            <a:off x="1524000" y="1122363"/>
            <a:ext cx="9144000" cy="2387600"/>
          </a:xfrm>
        </p:spPr>
        <p:txBody>
          <a:bodyPr anchor="b"/>
          <a:lstStyle>
            <a:lvl1pPr algn="ctr">
              <a:defRPr sz="6000"/>
            </a:lvl1pPr>
          </a:lstStyle>
          <a:p>
            <a:r>
              <a:rPr lang="tr-TR"/>
              <a:t>Asıl başlık stilini düzenlemek için tıklayın</a:t>
            </a:r>
          </a:p>
        </p:txBody>
      </p:sp>
      <p:sp>
        <p:nvSpPr>
          <p:cNvPr id="3" name="Alt Başlık 2">
            <a:extLst>
              <a:ext uri="{FF2B5EF4-FFF2-40B4-BE49-F238E27FC236}">
                <a16:creationId xmlns:a16="http://schemas.microsoft.com/office/drawing/2014/main" id="{A846D42C-4157-7B45-341D-5FC9B3300F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8054ECB5-2A79-02E7-9B40-FFBD09E55D10}"/>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5" name="Alt Bilgi Yer Tutucusu 4">
            <a:extLst>
              <a:ext uri="{FF2B5EF4-FFF2-40B4-BE49-F238E27FC236}">
                <a16:creationId xmlns:a16="http://schemas.microsoft.com/office/drawing/2014/main" id="{64C8248D-ED92-2ED0-6AFB-4375148F5ABF}"/>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0E215240-CA25-D1C3-FA0B-A8DEB97BB569}"/>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1901965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C61F054-69B9-7143-70D9-147AA5C343AE}"/>
              </a:ext>
            </a:extLst>
          </p:cNvPr>
          <p:cNvSpPr>
            <a:spLocks noGrp="1"/>
          </p:cNvSpPr>
          <p:nvPr>
            <p:ph type="title"/>
          </p:nvPr>
        </p:nvSpPr>
        <p:spPr/>
        <p:txBody>
          <a:bodyPr/>
          <a:lstStyle/>
          <a:p>
            <a:r>
              <a:rPr lang="tr-TR"/>
              <a:t>Asıl başlık stilini düzenlemek için tıklayın</a:t>
            </a:r>
          </a:p>
        </p:txBody>
      </p:sp>
      <p:sp>
        <p:nvSpPr>
          <p:cNvPr id="3" name="Dikey Metin Yer Tutucusu 2">
            <a:extLst>
              <a:ext uri="{FF2B5EF4-FFF2-40B4-BE49-F238E27FC236}">
                <a16:creationId xmlns:a16="http://schemas.microsoft.com/office/drawing/2014/main" id="{982BB03A-382A-72D4-2886-11C1C4DE83FD}"/>
              </a:ext>
            </a:extLst>
          </p:cNvPr>
          <p:cNvSpPr>
            <a:spLocks noGrp="1"/>
          </p:cNvSpPr>
          <p:nvPr>
            <p:ph type="body" orient="vert" idx="1"/>
          </p:nvPr>
        </p:nvSpPr>
        <p:spPr/>
        <p:txBody>
          <a:bodyPr vert="eaVert"/>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0A3FD7A4-9EDF-8029-CB2E-7C030C7A3229}"/>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5" name="Alt Bilgi Yer Tutucusu 4">
            <a:extLst>
              <a:ext uri="{FF2B5EF4-FFF2-40B4-BE49-F238E27FC236}">
                <a16:creationId xmlns:a16="http://schemas.microsoft.com/office/drawing/2014/main" id="{C413F5FF-0F37-2B26-D26E-4CA414ABF8F5}"/>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CE27CAB3-982A-35AD-94B7-4DC715DE26DD}"/>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3016841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a:extLst>
              <a:ext uri="{FF2B5EF4-FFF2-40B4-BE49-F238E27FC236}">
                <a16:creationId xmlns:a16="http://schemas.microsoft.com/office/drawing/2014/main" id="{88A8758E-7606-3190-4ADE-A221F4B607EC}"/>
              </a:ext>
            </a:extLst>
          </p:cNvPr>
          <p:cNvSpPr>
            <a:spLocks noGrp="1"/>
          </p:cNvSpPr>
          <p:nvPr>
            <p:ph type="title" orient="vert"/>
          </p:nvPr>
        </p:nvSpPr>
        <p:spPr>
          <a:xfrm>
            <a:off x="8724900" y="365125"/>
            <a:ext cx="2628900" cy="5811838"/>
          </a:xfrm>
        </p:spPr>
        <p:txBody>
          <a:bodyPr vert="eaVert"/>
          <a:lstStyle/>
          <a:p>
            <a:r>
              <a:rPr lang="tr-TR"/>
              <a:t>Asıl başlık stilini düzenlemek için tıklayın</a:t>
            </a:r>
          </a:p>
        </p:txBody>
      </p:sp>
      <p:sp>
        <p:nvSpPr>
          <p:cNvPr id="3" name="Dikey Metin Yer Tutucusu 2">
            <a:extLst>
              <a:ext uri="{FF2B5EF4-FFF2-40B4-BE49-F238E27FC236}">
                <a16:creationId xmlns:a16="http://schemas.microsoft.com/office/drawing/2014/main" id="{13FAF83C-F799-DC6B-2487-CCDA86CCF2A8}"/>
              </a:ext>
            </a:extLst>
          </p:cNvPr>
          <p:cNvSpPr>
            <a:spLocks noGrp="1"/>
          </p:cNvSpPr>
          <p:nvPr>
            <p:ph type="body" orient="vert" idx="1"/>
          </p:nvPr>
        </p:nvSpPr>
        <p:spPr>
          <a:xfrm>
            <a:off x="838200" y="365125"/>
            <a:ext cx="7734300" cy="5811838"/>
          </a:xfrm>
        </p:spPr>
        <p:txBody>
          <a:bodyPr vert="eaVert"/>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7D53C27D-6333-F17A-1347-E59DAA5B7EF8}"/>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5" name="Alt Bilgi Yer Tutucusu 4">
            <a:extLst>
              <a:ext uri="{FF2B5EF4-FFF2-40B4-BE49-F238E27FC236}">
                <a16:creationId xmlns:a16="http://schemas.microsoft.com/office/drawing/2014/main" id="{4BD2515C-43A8-C4D4-3B78-10510B567233}"/>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DC8DB66F-A4BD-BF97-E5A4-1CF589650C3E}"/>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4182404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9BBD41F-C817-DCA4-01F5-766E4A668E4E}"/>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E87900AB-A8C9-76C8-AF90-501B60B40DA7}"/>
              </a:ext>
            </a:extLst>
          </p:cNvPr>
          <p:cNvSpPr>
            <a:spLocks noGrp="1"/>
          </p:cNvSpPr>
          <p:nvPr>
            <p:ph idx="1"/>
          </p:nvPr>
        </p:nvSpPr>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1D03547D-C52D-D630-D8B0-1BBDF54600E0}"/>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5" name="Alt Bilgi Yer Tutucusu 4">
            <a:extLst>
              <a:ext uri="{FF2B5EF4-FFF2-40B4-BE49-F238E27FC236}">
                <a16:creationId xmlns:a16="http://schemas.microsoft.com/office/drawing/2014/main" id="{73AA6913-C256-2934-8220-9B798F8EDC7A}"/>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41A826BE-6AEB-4737-2833-FF56278CDBFD}"/>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307325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 Bilgisi">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53455820-15D3-DA57-E021-25E3FB05E04D}"/>
              </a:ext>
            </a:extLst>
          </p:cNvPr>
          <p:cNvSpPr>
            <a:spLocks noGrp="1"/>
          </p:cNvSpPr>
          <p:nvPr>
            <p:ph type="title"/>
          </p:nvPr>
        </p:nvSpPr>
        <p:spPr>
          <a:xfrm>
            <a:off x="831850" y="1709738"/>
            <a:ext cx="10515600" cy="2852737"/>
          </a:xfrm>
        </p:spPr>
        <p:txBody>
          <a:bodyPr anchor="b"/>
          <a:lstStyle>
            <a:lvl1pPr>
              <a:defRPr sz="6000"/>
            </a:lvl1pPr>
          </a:lstStyle>
          <a:p>
            <a:r>
              <a:rPr lang="tr-TR"/>
              <a:t>Asıl başlık stilini düzenlemek için tıklayın</a:t>
            </a:r>
          </a:p>
        </p:txBody>
      </p:sp>
      <p:sp>
        <p:nvSpPr>
          <p:cNvPr id="3" name="Metin Yer Tutucusu 2">
            <a:extLst>
              <a:ext uri="{FF2B5EF4-FFF2-40B4-BE49-F238E27FC236}">
                <a16:creationId xmlns:a16="http://schemas.microsoft.com/office/drawing/2014/main" id="{52D6E764-7303-EAE9-F8B7-D20552EA61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a:t>Asıl metin stillerini düzenlemek için tıklayın</a:t>
            </a:r>
          </a:p>
        </p:txBody>
      </p:sp>
      <p:sp>
        <p:nvSpPr>
          <p:cNvPr id="4" name="Veri Yer Tutucusu 3">
            <a:extLst>
              <a:ext uri="{FF2B5EF4-FFF2-40B4-BE49-F238E27FC236}">
                <a16:creationId xmlns:a16="http://schemas.microsoft.com/office/drawing/2014/main" id="{3A8A05C2-4E3B-689D-4C24-A48D501D1D87}"/>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5" name="Alt Bilgi Yer Tutucusu 4">
            <a:extLst>
              <a:ext uri="{FF2B5EF4-FFF2-40B4-BE49-F238E27FC236}">
                <a16:creationId xmlns:a16="http://schemas.microsoft.com/office/drawing/2014/main" id="{32050368-BCE7-9B3F-EAD9-15C23E3EA857}"/>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98168B0D-B0F7-9372-F645-E799B0CF113F}"/>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240817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28B83606-39CA-EBE9-22DC-A62A1700857C}"/>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6306D531-951C-404E-0963-6574A3C7BC0C}"/>
              </a:ext>
            </a:extLst>
          </p:cNvPr>
          <p:cNvSpPr>
            <a:spLocks noGrp="1"/>
          </p:cNvSpPr>
          <p:nvPr>
            <p:ph sz="half" idx="1"/>
          </p:nvPr>
        </p:nvSpPr>
        <p:spPr>
          <a:xfrm>
            <a:off x="838200" y="1825625"/>
            <a:ext cx="5181600" cy="435133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a:extLst>
              <a:ext uri="{FF2B5EF4-FFF2-40B4-BE49-F238E27FC236}">
                <a16:creationId xmlns:a16="http://schemas.microsoft.com/office/drawing/2014/main" id="{1FF9174F-E300-9412-F98E-2D6954A545CE}"/>
              </a:ext>
            </a:extLst>
          </p:cNvPr>
          <p:cNvSpPr>
            <a:spLocks noGrp="1"/>
          </p:cNvSpPr>
          <p:nvPr>
            <p:ph sz="half" idx="2"/>
          </p:nvPr>
        </p:nvSpPr>
        <p:spPr>
          <a:xfrm>
            <a:off x="6172200" y="1825625"/>
            <a:ext cx="5181600" cy="435133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a:extLst>
              <a:ext uri="{FF2B5EF4-FFF2-40B4-BE49-F238E27FC236}">
                <a16:creationId xmlns:a16="http://schemas.microsoft.com/office/drawing/2014/main" id="{3FD47AAB-E6AE-77A7-5761-956B17589BB3}"/>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6" name="Alt Bilgi Yer Tutucusu 5">
            <a:extLst>
              <a:ext uri="{FF2B5EF4-FFF2-40B4-BE49-F238E27FC236}">
                <a16:creationId xmlns:a16="http://schemas.microsoft.com/office/drawing/2014/main" id="{FE871526-0BC8-C7E4-D3E8-7CF448D61B57}"/>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92BC01FF-4507-5373-C37C-3D7E4A94DDAE}"/>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240293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D56F3F7-EE30-900F-13C6-9E3BE3EE88F7}"/>
              </a:ext>
            </a:extLst>
          </p:cNvPr>
          <p:cNvSpPr>
            <a:spLocks noGrp="1"/>
          </p:cNvSpPr>
          <p:nvPr>
            <p:ph type="title"/>
          </p:nvPr>
        </p:nvSpPr>
        <p:spPr>
          <a:xfrm>
            <a:off x="839788" y="365125"/>
            <a:ext cx="10515600" cy="1325563"/>
          </a:xfrm>
        </p:spPr>
        <p:txBody>
          <a:bodyPr/>
          <a:lstStyle/>
          <a:p>
            <a:r>
              <a:rPr lang="tr-TR"/>
              <a:t>Asıl başlık stilini düzenlemek için tıklayın</a:t>
            </a:r>
          </a:p>
        </p:txBody>
      </p:sp>
      <p:sp>
        <p:nvSpPr>
          <p:cNvPr id="3" name="Metin Yer Tutucusu 2">
            <a:extLst>
              <a:ext uri="{FF2B5EF4-FFF2-40B4-BE49-F238E27FC236}">
                <a16:creationId xmlns:a16="http://schemas.microsoft.com/office/drawing/2014/main" id="{DC763FF5-04AB-E1CC-8A2F-8D5414604E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yın</a:t>
            </a:r>
          </a:p>
        </p:txBody>
      </p:sp>
      <p:sp>
        <p:nvSpPr>
          <p:cNvPr id="4" name="İçerik Yer Tutucusu 3">
            <a:extLst>
              <a:ext uri="{FF2B5EF4-FFF2-40B4-BE49-F238E27FC236}">
                <a16:creationId xmlns:a16="http://schemas.microsoft.com/office/drawing/2014/main" id="{A862C585-B0FD-67B0-73BD-F6F998AD338C}"/>
              </a:ext>
            </a:extLst>
          </p:cNvPr>
          <p:cNvSpPr>
            <a:spLocks noGrp="1"/>
          </p:cNvSpPr>
          <p:nvPr>
            <p:ph sz="half" idx="2"/>
          </p:nvPr>
        </p:nvSpPr>
        <p:spPr>
          <a:xfrm>
            <a:off x="839788" y="2505075"/>
            <a:ext cx="5157787" cy="368458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5" name="Metin Yer Tutucusu 4">
            <a:extLst>
              <a:ext uri="{FF2B5EF4-FFF2-40B4-BE49-F238E27FC236}">
                <a16:creationId xmlns:a16="http://schemas.microsoft.com/office/drawing/2014/main" id="{836B5CEE-3E54-C639-C72F-E29C77C191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Asıl metin stillerini düzenlemek için tıklayın</a:t>
            </a:r>
          </a:p>
        </p:txBody>
      </p:sp>
      <p:sp>
        <p:nvSpPr>
          <p:cNvPr id="6" name="İçerik Yer Tutucusu 5">
            <a:extLst>
              <a:ext uri="{FF2B5EF4-FFF2-40B4-BE49-F238E27FC236}">
                <a16:creationId xmlns:a16="http://schemas.microsoft.com/office/drawing/2014/main" id="{B7AE62DD-FAAB-1C0A-D356-FF1C1443807B}"/>
              </a:ext>
            </a:extLst>
          </p:cNvPr>
          <p:cNvSpPr>
            <a:spLocks noGrp="1"/>
          </p:cNvSpPr>
          <p:nvPr>
            <p:ph sz="quarter" idx="4"/>
          </p:nvPr>
        </p:nvSpPr>
        <p:spPr>
          <a:xfrm>
            <a:off x="6172200" y="2505075"/>
            <a:ext cx="5183188" cy="3684588"/>
          </a:xfrm>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7" name="Veri Yer Tutucusu 6">
            <a:extLst>
              <a:ext uri="{FF2B5EF4-FFF2-40B4-BE49-F238E27FC236}">
                <a16:creationId xmlns:a16="http://schemas.microsoft.com/office/drawing/2014/main" id="{51F74765-4E00-FD6C-C6C4-5A04635618E0}"/>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8" name="Alt Bilgi Yer Tutucusu 7">
            <a:extLst>
              <a:ext uri="{FF2B5EF4-FFF2-40B4-BE49-F238E27FC236}">
                <a16:creationId xmlns:a16="http://schemas.microsoft.com/office/drawing/2014/main" id="{0B073B9A-3AD8-C2B3-3D4C-1E95B4FC1A98}"/>
              </a:ext>
            </a:extLst>
          </p:cNvPr>
          <p:cNvSpPr>
            <a:spLocks noGrp="1"/>
          </p:cNvSpPr>
          <p:nvPr>
            <p:ph type="ftr" sz="quarter" idx="11"/>
          </p:nvPr>
        </p:nvSpPr>
        <p:spPr/>
        <p:txBody>
          <a:bodyPr/>
          <a:lstStyle/>
          <a:p>
            <a:endParaRPr lang="tr-TR"/>
          </a:p>
        </p:txBody>
      </p:sp>
      <p:sp>
        <p:nvSpPr>
          <p:cNvPr id="9" name="Slayt Numarası Yer Tutucusu 8">
            <a:extLst>
              <a:ext uri="{FF2B5EF4-FFF2-40B4-BE49-F238E27FC236}">
                <a16:creationId xmlns:a16="http://schemas.microsoft.com/office/drawing/2014/main" id="{182B0F9F-5F4F-FE3C-0DAF-05B20E352FD9}"/>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40790462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2AF87030-8CCA-34DC-B38C-DF2116555292}"/>
              </a:ext>
            </a:extLst>
          </p:cNvPr>
          <p:cNvSpPr>
            <a:spLocks noGrp="1"/>
          </p:cNvSpPr>
          <p:nvPr>
            <p:ph type="title"/>
          </p:nvPr>
        </p:nvSpPr>
        <p:spPr/>
        <p:txBody>
          <a:bodyPr/>
          <a:lstStyle/>
          <a:p>
            <a:r>
              <a:rPr lang="tr-TR"/>
              <a:t>Asıl başlık stilini düzenlemek için tıklayın</a:t>
            </a:r>
          </a:p>
        </p:txBody>
      </p:sp>
      <p:sp>
        <p:nvSpPr>
          <p:cNvPr id="3" name="Veri Yer Tutucusu 2">
            <a:extLst>
              <a:ext uri="{FF2B5EF4-FFF2-40B4-BE49-F238E27FC236}">
                <a16:creationId xmlns:a16="http://schemas.microsoft.com/office/drawing/2014/main" id="{AFAC5E31-C940-B3AD-BBCD-003264330C74}"/>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4" name="Alt Bilgi Yer Tutucusu 3">
            <a:extLst>
              <a:ext uri="{FF2B5EF4-FFF2-40B4-BE49-F238E27FC236}">
                <a16:creationId xmlns:a16="http://schemas.microsoft.com/office/drawing/2014/main" id="{8476A188-B15E-E0BC-9D19-5C0FFCFCC76C}"/>
              </a:ext>
            </a:extLst>
          </p:cNvPr>
          <p:cNvSpPr>
            <a:spLocks noGrp="1"/>
          </p:cNvSpPr>
          <p:nvPr>
            <p:ph type="ftr" sz="quarter" idx="11"/>
          </p:nvPr>
        </p:nvSpPr>
        <p:spPr/>
        <p:txBody>
          <a:bodyPr/>
          <a:lstStyle/>
          <a:p>
            <a:endParaRPr lang="tr-TR"/>
          </a:p>
        </p:txBody>
      </p:sp>
      <p:sp>
        <p:nvSpPr>
          <p:cNvPr id="5" name="Slayt Numarası Yer Tutucusu 4">
            <a:extLst>
              <a:ext uri="{FF2B5EF4-FFF2-40B4-BE49-F238E27FC236}">
                <a16:creationId xmlns:a16="http://schemas.microsoft.com/office/drawing/2014/main" id="{6261A655-353B-9006-86D1-1F9C7C26F8D2}"/>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561158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a:extLst>
              <a:ext uri="{FF2B5EF4-FFF2-40B4-BE49-F238E27FC236}">
                <a16:creationId xmlns:a16="http://schemas.microsoft.com/office/drawing/2014/main" id="{598F1E5B-608B-F005-AB18-9BD274B6BE6B}"/>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3" name="Alt Bilgi Yer Tutucusu 2">
            <a:extLst>
              <a:ext uri="{FF2B5EF4-FFF2-40B4-BE49-F238E27FC236}">
                <a16:creationId xmlns:a16="http://schemas.microsoft.com/office/drawing/2014/main" id="{04B20575-DB6E-4BC9-8EF7-2FDCFD6B6806}"/>
              </a:ext>
            </a:extLst>
          </p:cNvPr>
          <p:cNvSpPr>
            <a:spLocks noGrp="1"/>
          </p:cNvSpPr>
          <p:nvPr>
            <p:ph type="ftr" sz="quarter" idx="11"/>
          </p:nvPr>
        </p:nvSpPr>
        <p:spPr/>
        <p:txBody>
          <a:bodyPr/>
          <a:lstStyle/>
          <a:p>
            <a:endParaRPr lang="tr-TR"/>
          </a:p>
        </p:txBody>
      </p:sp>
      <p:sp>
        <p:nvSpPr>
          <p:cNvPr id="4" name="Slayt Numarası Yer Tutucusu 3">
            <a:extLst>
              <a:ext uri="{FF2B5EF4-FFF2-40B4-BE49-F238E27FC236}">
                <a16:creationId xmlns:a16="http://schemas.microsoft.com/office/drawing/2014/main" id="{17CA043C-A2A3-B3BF-356B-11AD6E5ED75E}"/>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3468768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E32BE8A-02A9-1965-BC3B-CAAD78652F50}"/>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İçerik Yer Tutucusu 2">
            <a:extLst>
              <a:ext uri="{FF2B5EF4-FFF2-40B4-BE49-F238E27FC236}">
                <a16:creationId xmlns:a16="http://schemas.microsoft.com/office/drawing/2014/main" id="{0DBEC3B9-8845-9A1E-0C79-8F5B166844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Metin Yer Tutucusu 3">
            <a:extLst>
              <a:ext uri="{FF2B5EF4-FFF2-40B4-BE49-F238E27FC236}">
                <a16:creationId xmlns:a16="http://schemas.microsoft.com/office/drawing/2014/main" id="{FF987CB6-22A8-BA09-3F0D-1FEA92DD33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yın</a:t>
            </a:r>
          </a:p>
        </p:txBody>
      </p:sp>
      <p:sp>
        <p:nvSpPr>
          <p:cNvPr id="5" name="Veri Yer Tutucusu 4">
            <a:extLst>
              <a:ext uri="{FF2B5EF4-FFF2-40B4-BE49-F238E27FC236}">
                <a16:creationId xmlns:a16="http://schemas.microsoft.com/office/drawing/2014/main" id="{96DD631C-BD3F-8792-4632-09BCD76A5533}"/>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6" name="Alt Bilgi Yer Tutucusu 5">
            <a:extLst>
              <a:ext uri="{FF2B5EF4-FFF2-40B4-BE49-F238E27FC236}">
                <a16:creationId xmlns:a16="http://schemas.microsoft.com/office/drawing/2014/main" id="{A93597A7-6961-8A25-4FB5-E253DDCA24E3}"/>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41E64887-E885-D685-6839-042D54B5A896}"/>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1523927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90BAB98-4564-DB53-09B2-251F5D9FD348}"/>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Resim Yer Tutucusu 2">
            <a:extLst>
              <a:ext uri="{FF2B5EF4-FFF2-40B4-BE49-F238E27FC236}">
                <a16:creationId xmlns:a16="http://schemas.microsoft.com/office/drawing/2014/main" id="{D4388DCE-543A-8403-DB43-B5AF484019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a:extLst>
              <a:ext uri="{FF2B5EF4-FFF2-40B4-BE49-F238E27FC236}">
                <a16:creationId xmlns:a16="http://schemas.microsoft.com/office/drawing/2014/main" id="{128499F8-9735-4C66-5CEF-DF82A7FFB2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a:t>Asıl metin stillerini düzenlemek için tıklayın</a:t>
            </a:r>
          </a:p>
        </p:txBody>
      </p:sp>
      <p:sp>
        <p:nvSpPr>
          <p:cNvPr id="5" name="Veri Yer Tutucusu 4">
            <a:extLst>
              <a:ext uri="{FF2B5EF4-FFF2-40B4-BE49-F238E27FC236}">
                <a16:creationId xmlns:a16="http://schemas.microsoft.com/office/drawing/2014/main" id="{A646E51E-5C64-3803-AF23-6E4CC93C571C}"/>
              </a:ext>
            </a:extLst>
          </p:cNvPr>
          <p:cNvSpPr>
            <a:spLocks noGrp="1"/>
          </p:cNvSpPr>
          <p:nvPr>
            <p:ph type="dt" sz="half" idx="10"/>
          </p:nvPr>
        </p:nvSpPr>
        <p:spPr/>
        <p:txBody>
          <a:bodyPr/>
          <a:lstStyle/>
          <a:p>
            <a:fld id="{E58A111E-7F94-564B-B452-BFD77ED74D7E}" type="datetimeFigureOut">
              <a:rPr lang="tr-TR" smtClean="0"/>
              <a:t>3.05.2023</a:t>
            </a:fld>
            <a:endParaRPr lang="tr-TR"/>
          </a:p>
        </p:txBody>
      </p:sp>
      <p:sp>
        <p:nvSpPr>
          <p:cNvPr id="6" name="Alt Bilgi Yer Tutucusu 5">
            <a:extLst>
              <a:ext uri="{FF2B5EF4-FFF2-40B4-BE49-F238E27FC236}">
                <a16:creationId xmlns:a16="http://schemas.microsoft.com/office/drawing/2014/main" id="{E220B98F-EC05-E9E2-4371-448C6A4B0A36}"/>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05199559-197F-8953-E51B-58186F5AD8E9}"/>
              </a:ext>
            </a:extLst>
          </p:cNvPr>
          <p:cNvSpPr>
            <a:spLocks noGrp="1"/>
          </p:cNvSpPr>
          <p:nvPr>
            <p:ph type="sldNum" sz="quarter" idx="12"/>
          </p:nvPr>
        </p:nvSpPr>
        <p:spPr/>
        <p:txBody>
          <a:bodyPr/>
          <a:lstStyle/>
          <a:p>
            <a:fld id="{CBC06310-585F-9843-8756-30C415E5145C}" type="slidenum">
              <a:rPr lang="tr-TR" smtClean="0"/>
              <a:t>‹#›</a:t>
            </a:fld>
            <a:endParaRPr lang="tr-TR"/>
          </a:p>
        </p:txBody>
      </p:sp>
    </p:spTree>
    <p:extLst>
      <p:ext uri="{BB962C8B-B14F-4D97-AF65-F5344CB8AC3E}">
        <p14:creationId xmlns:p14="http://schemas.microsoft.com/office/powerpoint/2010/main" val="4090337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a:extLst>
              <a:ext uri="{FF2B5EF4-FFF2-40B4-BE49-F238E27FC236}">
                <a16:creationId xmlns:a16="http://schemas.microsoft.com/office/drawing/2014/main" id="{5A3D6F0F-3657-BFE6-CE42-5A924AEA00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a:t>Asıl başlık stilini düzenlemek için tıklayın</a:t>
            </a:r>
          </a:p>
        </p:txBody>
      </p:sp>
      <p:sp>
        <p:nvSpPr>
          <p:cNvPr id="3" name="Metin Yer Tutucusu 2">
            <a:extLst>
              <a:ext uri="{FF2B5EF4-FFF2-40B4-BE49-F238E27FC236}">
                <a16:creationId xmlns:a16="http://schemas.microsoft.com/office/drawing/2014/main" id="{1CBE6A6F-3540-FFA4-606D-F8A27AE821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8ACA9FDC-9E4D-DC70-7EB5-A4357EF54A4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8A111E-7F94-564B-B452-BFD77ED74D7E}" type="datetimeFigureOut">
              <a:rPr lang="tr-TR" smtClean="0"/>
              <a:t>3.05.2023</a:t>
            </a:fld>
            <a:endParaRPr lang="tr-TR"/>
          </a:p>
        </p:txBody>
      </p:sp>
      <p:sp>
        <p:nvSpPr>
          <p:cNvPr id="5" name="Alt Bilgi Yer Tutucusu 4">
            <a:extLst>
              <a:ext uri="{FF2B5EF4-FFF2-40B4-BE49-F238E27FC236}">
                <a16:creationId xmlns:a16="http://schemas.microsoft.com/office/drawing/2014/main" id="{9CE55DE6-4002-4B5F-94D7-A6C04787CE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a:extLst>
              <a:ext uri="{FF2B5EF4-FFF2-40B4-BE49-F238E27FC236}">
                <a16:creationId xmlns:a16="http://schemas.microsoft.com/office/drawing/2014/main" id="{EBE0F469-CC8A-2E0E-7A30-450DF0C921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C06310-585F-9843-8756-30C415E5145C}" type="slidenum">
              <a:rPr lang="tr-TR" smtClean="0"/>
              <a:t>‹#›</a:t>
            </a:fld>
            <a:endParaRPr lang="tr-TR"/>
          </a:p>
        </p:txBody>
      </p:sp>
      <p:sp>
        <p:nvSpPr>
          <p:cNvPr id="7" name="fl" descr="Herkese Açık">
            <a:extLst>
              <a:ext uri="{FF2B5EF4-FFF2-40B4-BE49-F238E27FC236}">
                <a16:creationId xmlns:a16="http://schemas.microsoft.com/office/drawing/2014/main" id="{0BD7D152-AB29-4E50-9922-471E27DB0474}"/>
              </a:ext>
            </a:extLst>
          </p:cNvPr>
          <p:cNvSpPr txBox="1"/>
          <p:nvPr userDrawn="1"/>
        </p:nvSpPr>
        <p:spPr>
          <a:xfrm>
            <a:off x="0" y="6545580"/>
            <a:ext cx="12192000" cy="215444"/>
          </a:xfrm>
          <a:prstGeom prst="rect">
            <a:avLst/>
          </a:prstGeom>
          <a:noFill/>
        </p:spPr>
        <p:txBody>
          <a:bodyPr vert="horz" rtlCol="0">
            <a:spAutoFit/>
          </a:bodyPr>
          <a:lstStyle/>
          <a:p>
            <a:pPr algn="l"/>
            <a:r>
              <a:rPr lang="tr-TR" sz="800" b="0" i="0" u="none" baseline="0">
                <a:solidFill>
                  <a:srgbClr val="002060"/>
                </a:solidFill>
                <a:latin typeface="arial" panose="020B0604020202020204" pitchFamily="34" charset="0"/>
              </a:rPr>
              <a:t>Herkese Açık</a:t>
            </a:r>
          </a:p>
        </p:txBody>
      </p:sp>
    </p:spTree>
    <p:extLst>
      <p:ext uri="{BB962C8B-B14F-4D97-AF65-F5344CB8AC3E}">
        <p14:creationId xmlns:p14="http://schemas.microsoft.com/office/powerpoint/2010/main" val="30939990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7.emf"/><Relationship Id="rId7" Type="http://schemas.openxmlformats.org/officeDocument/2006/relationships/image" Target="../media/image22.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image" Target="../media/image7.emf"/><Relationship Id="rId7" Type="http://schemas.openxmlformats.org/officeDocument/2006/relationships/diagramData" Target="../diagrams/data4.xml"/><Relationship Id="rId12" Type="http://schemas.openxmlformats.org/officeDocument/2006/relationships/image" Target="../media/image24.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svg"/><Relationship Id="rId11" Type="http://schemas.microsoft.com/office/2007/relationships/diagramDrawing" Target="../diagrams/drawing4.xml"/><Relationship Id="rId5" Type="http://schemas.openxmlformats.org/officeDocument/2006/relationships/image" Target="../media/image9.png"/><Relationship Id="rId10" Type="http://schemas.openxmlformats.org/officeDocument/2006/relationships/diagramColors" Target="../diagrams/colors4.xml"/><Relationship Id="rId4" Type="http://schemas.openxmlformats.org/officeDocument/2006/relationships/image" Target="../media/image8.emf"/><Relationship Id="rId9"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26.png"/><Relationship Id="rId7" Type="http://schemas.openxmlformats.org/officeDocument/2006/relationships/image" Target="../media/image9.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8.png"/><Relationship Id="rId7" Type="http://schemas.openxmlformats.org/officeDocument/2006/relationships/image" Target="../media/image8.emf"/><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29.png"/><Relationship Id="rId9" Type="http://schemas.openxmlformats.org/officeDocument/2006/relationships/image" Target="../media/image10.svg"/></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7.emf"/><Relationship Id="rId7" Type="http://schemas.openxmlformats.org/officeDocument/2006/relationships/image" Target="../media/image32.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8.emf"/><Relationship Id="rId9" Type="http://schemas.openxmlformats.org/officeDocument/2006/relationships/image" Target="../media/image10.svg"/></Relationships>
</file>

<file path=ppt/slides/_rels/slide1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7.emf"/><Relationship Id="rId7"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7.emf"/><Relationship Id="rId7" Type="http://schemas.openxmlformats.org/officeDocument/2006/relationships/image" Target="../media/image37.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8.emf"/><Relationship Id="rId9" Type="http://schemas.openxmlformats.org/officeDocument/2006/relationships/image" Target="../media/image10.svg"/></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6.pn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10" Type="http://schemas.openxmlformats.org/officeDocument/2006/relationships/image" Target="../media/image10.svg"/><Relationship Id="rId4" Type="http://schemas.openxmlformats.org/officeDocument/2006/relationships/image" Target="../media/image6.png"/><Relationship Id="rId9" Type="http://schemas.openxmlformats.org/officeDocument/2006/relationships/image" Target="../media/image9.png"/></Relationships>
</file>

<file path=ppt/slides/_rels/slide1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40.jp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9.jpg"/><Relationship Id="rId5" Type="http://schemas.openxmlformats.org/officeDocument/2006/relationships/image" Target="../media/image8.emf"/><Relationship Id="rId4" Type="http://schemas.openxmlformats.org/officeDocument/2006/relationships/image" Target="../media/image7.emf"/><Relationship Id="rId9" Type="http://schemas.openxmlformats.org/officeDocument/2006/relationships/image" Target="../media/image10.svg"/></Relationships>
</file>

<file path=ppt/slides/_rels/slide1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tags" Target="../tags/tag2.xml"/><Relationship Id="rId7" Type="http://schemas.openxmlformats.org/officeDocument/2006/relationships/image" Target="../media/image41.emf"/><Relationship Id="rId12" Type="http://schemas.openxmlformats.org/officeDocument/2006/relationships/image" Target="../media/image4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2.png"/><Relationship Id="rId5" Type="http://schemas.openxmlformats.org/officeDocument/2006/relationships/notesSlide" Target="../notesSlides/notesSlide9.xml"/><Relationship Id="rId10" Type="http://schemas.openxmlformats.org/officeDocument/2006/relationships/image" Target="../media/image8.emf"/><Relationship Id="rId4" Type="http://schemas.openxmlformats.org/officeDocument/2006/relationships/slideLayout" Target="../slideLayouts/slideLayout4.xml"/><Relationship Id="rId9" Type="http://schemas.openxmlformats.org/officeDocument/2006/relationships/image" Target="../media/image7.emf"/><Relationship Id="rId14" Type="http://schemas.openxmlformats.org/officeDocument/2006/relationships/image" Target="../media/image10.sv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7.emf"/><Relationship Id="rId7"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45.jpeg"/><Relationship Id="rId5" Type="http://schemas.openxmlformats.org/officeDocument/2006/relationships/image" Target="../media/image44.jpg"/><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7.emf"/><Relationship Id="rId7" Type="http://schemas.openxmlformats.org/officeDocument/2006/relationships/image" Target="../media/image46.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 Id="rId9" Type="http://schemas.openxmlformats.org/officeDocument/2006/relationships/image" Target="../media/image48.jpg"/></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51.jpg"/><Relationship Id="rId2" Type="http://schemas.openxmlformats.org/officeDocument/2006/relationships/image" Target="../media/image49.jpg"/><Relationship Id="rId1" Type="http://schemas.openxmlformats.org/officeDocument/2006/relationships/slideLayout" Target="../slideLayouts/slideLayout2.xml"/><Relationship Id="rId6" Type="http://schemas.openxmlformats.org/officeDocument/2006/relationships/image" Target="../media/image50.jpg"/><Relationship Id="rId5" Type="http://schemas.openxmlformats.org/officeDocument/2006/relationships/image" Target="../media/image8.emf"/><Relationship Id="rId4" Type="http://schemas.openxmlformats.org/officeDocument/2006/relationships/image" Target="../media/image7.emf"/><Relationship Id="rId9" Type="http://schemas.openxmlformats.org/officeDocument/2006/relationships/image" Target="../media/image10.svg"/></Relationships>
</file>

<file path=ppt/slides/_rels/slide2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8.emf"/><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3" Type="http://schemas.openxmlformats.org/officeDocument/2006/relationships/image" Target="../media/image7.emf"/><Relationship Id="rId7" Type="http://schemas.openxmlformats.org/officeDocument/2006/relationships/image" Target="../media/image54.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s/_rels/slide2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7.emf"/><Relationship Id="rId7" Type="http://schemas.openxmlformats.org/officeDocument/2006/relationships/image" Target="../media/image55.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 Id="rId9" Type="http://schemas.openxmlformats.org/officeDocument/2006/relationships/image" Target="../media/image57.png"/></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9.png"/><Relationship Id="rId7" Type="http://schemas.openxmlformats.org/officeDocument/2006/relationships/image" Target="../media/image7.emf"/><Relationship Id="rId2"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0.svg"/><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7.emf"/><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7.emf"/><Relationship Id="rId7"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38.png"/><Relationship Id="rId4" Type="http://schemas.openxmlformats.org/officeDocument/2006/relationships/image" Target="../media/image8.emf"/></Relationships>
</file>

<file path=ppt/slides/_rels/slide2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7.emf"/><Relationship Id="rId7"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64.jpeg"/><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image" Target="../media/image6.png"/><Relationship Id="rId7" Type="http://schemas.openxmlformats.org/officeDocument/2006/relationships/image" Target="../media/image10.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10.sv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7.emf"/><Relationship Id="rId10" Type="http://schemas.openxmlformats.org/officeDocument/2006/relationships/image" Target="../media/image70.png"/><Relationship Id="rId4" Type="http://schemas.openxmlformats.org/officeDocument/2006/relationships/image" Target="../media/image6.png"/><Relationship Id="rId9" Type="http://schemas.openxmlformats.org/officeDocument/2006/relationships/image" Target="../media/image69.png"/></Relationships>
</file>

<file path=ppt/slides/_rels/slide31.xml.rels><?xml version="1.0" encoding="UTF-8" standalone="yes"?>
<Relationships xmlns="http://schemas.openxmlformats.org/package/2006/relationships"><Relationship Id="rId3" Type="http://schemas.openxmlformats.org/officeDocument/2006/relationships/image" Target="../media/image7.emf"/><Relationship Id="rId7"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74.jpeg"/><Relationship Id="rId4" Type="http://schemas.openxmlformats.org/officeDocument/2006/relationships/image" Target="../media/image8.emf"/></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5.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6.png"/><Relationship Id="rId7" Type="http://schemas.openxmlformats.org/officeDocument/2006/relationships/image" Target="../media/image14.png"/><Relationship Id="rId12" Type="http://schemas.openxmlformats.org/officeDocument/2006/relationships/image" Target="../media/image10.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3.jpeg"/><Relationship Id="rId11"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17.png"/><Relationship Id="rId4" Type="http://schemas.openxmlformats.org/officeDocument/2006/relationships/image" Target="../media/image7.emf"/><Relationship Id="rId9"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7.emf"/><Relationship Id="rId7"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20.png"/><Relationship Id="rId3" Type="http://schemas.openxmlformats.org/officeDocument/2006/relationships/image" Target="../media/image6.png"/><Relationship Id="rId7" Type="http://schemas.openxmlformats.org/officeDocument/2006/relationships/image" Target="../media/image10.svg"/><Relationship Id="rId12"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diagramColors" Target="../diagrams/colors1.xml"/><Relationship Id="rId5" Type="http://schemas.openxmlformats.org/officeDocument/2006/relationships/image" Target="../media/image8.emf"/><Relationship Id="rId10" Type="http://schemas.openxmlformats.org/officeDocument/2006/relationships/diagramQuickStyle" Target="../diagrams/quickStyle1.xml"/><Relationship Id="rId4" Type="http://schemas.openxmlformats.org/officeDocument/2006/relationships/image" Target="../media/image7.emf"/><Relationship Id="rId9" Type="http://schemas.openxmlformats.org/officeDocument/2006/relationships/diagramLayout" Target="../diagrams/layout1.xml"/><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image" Target="../media/image6.png"/><Relationship Id="rId7" Type="http://schemas.openxmlformats.org/officeDocument/2006/relationships/image" Target="../media/image10.svg"/><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5.xml"/><Relationship Id="rId16" Type="http://schemas.openxmlformats.org/officeDocument/2006/relationships/diagramColors" Target="../diagrams/colors3.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diagramColors" Target="../diagrams/colors2.xml"/><Relationship Id="rId5" Type="http://schemas.openxmlformats.org/officeDocument/2006/relationships/image" Target="../media/image8.emf"/><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image" Target="../media/image7.emf"/><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sv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esim 6" descr="metin, kişi içeren bir resim&#10;&#10;Açıklama otomatik olarak oluşturuldu">
            <a:extLst>
              <a:ext uri="{FF2B5EF4-FFF2-40B4-BE49-F238E27FC236}">
                <a16:creationId xmlns:a16="http://schemas.microsoft.com/office/drawing/2014/main" id="{38A409DF-CF70-1619-79CB-419325278A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Resim 7">
            <a:extLst>
              <a:ext uri="{FF2B5EF4-FFF2-40B4-BE49-F238E27FC236}">
                <a16:creationId xmlns:a16="http://schemas.microsoft.com/office/drawing/2014/main" id="{9F078626-2D3F-A7BF-7E25-2571D95A4F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82533" y="208864"/>
            <a:ext cx="1354095" cy="479973"/>
          </a:xfrm>
          <a:prstGeom prst="rect">
            <a:avLst/>
          </a:prstGeom>
        </p:spPr>
      </p:pic>
    </p:spTree>
    <p:extLst>
      <p:ext uri="{BB962C8B-B14F-4D97-AF65-F5344CB8AC3E}">
        <p14:creationId xmlns:p14="http://schemas.microsoft.com/office/powerpoint/2010/main" val="3626159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9" name="Grafik 7">
            <a:extLst>
              <a:ext uri="{FF2B5EF4-FFF2-40B4-BE49-F238E27FC236}">
                <a16:creationId xmlns:a16="http://schemas.microsoft.com/office/drawing/2014/main" id="{3ED37854-B45F-47E3-88EF-2E587F6E1C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527" y="6287609"/>
            <a:ext cx="1283363" cy="303016"/>
          </a:xfrm>
          <a:prstGeom prst="rect">
            <a:avLst/>
          </a:prstGeom>
        </p:spPr>
      </p:pic>
      <p:sp>
        <p:nvSpPr>
          <p:cNvPr id="8" name="Başlık 14">
            <a:extLst>
              <a:ext uri="{FF2B5EF4-FFF2-40B4-BE49-F238E27FC236}">
                <a16:creationId xmlns:a16="http://schemas.microsoft.com/office/drawing/2014/main" id="{DF2EB041-F3A2-43BD-86A2-E6D57252081D}"/>
              </a:ext>
            </a:extLst>
          </p:cNvPr>
          <p:cNvSpPr txBox="1">
            <a:spLocks/>
          </p:cNvSpPr>
          <p:nvPr/>
        </p:nvSpPr>
        <p:spPr>
          <a:xfrm>
            <a:off x="2128919" y="584286"/>
            <a:ext cx="9860169" cy="6516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3800" dirty="0">
                <a:solidFill>
                  <a:srgbClr val="004A85"/>
                </a:solidFill>
                <a:latin typeface="+mn-lt"/>
              </a:rPr>
              <a:t>Varlık Yönetimi Sertifikalarımız</a:t>
            </a:r>
          </a:p>
        </p:txBody>
      </p:sp>
      <p:pic>
        <p:nvPicPr>
          <p:cNvPr id="72" name="Resim 71">
            <a:extLst>
              <a:ext uri="{FF2B5EF4-FFF2-40B4-BE49-F238E27FC236}">
                <a16:creationId xmlns:a16="http://schemas.microsoft.com/office/drawing/2014/main" id="{1816CD96-9DBF-442D-8E8B-5C3614501728}"/>
              </a:ext>
            </a:extLst>
          </p:cNvPr>
          <p:cNvPicPr>
            <a:picLocks noChangeAspect="1"/>
          </p:cNvPicPr>
          <p:nvPr/>
        </p:nvPicPr>
        <p:blipFill>
          <a:blip r:embed="rId7"/>
          <a:stretch>
            <a:fillRect/>
          </a:stretch>
        </p:blipFill>
        <p:spPr>
          <a:xfrm>
            <a:off x="1255156" y="1972916"/>
            <a:ext cx="4591187" cy="3183802"/>
          </a:xfrm>
          <a:prstGeom prst="rect">
            <a:avLst/>
          </a:prstGeom>
          <a:effectLst>
            <a:softEdge rad="12700"/>
          </a:effectLst>
          <a:scene3d>
            <a:camera prst="orthographicFront"/>
            <a:lightRig rig="threePt" dir="t"/>
          </a:scene3d>
          <a:sp3d>
            <a:bevelT/>
          </a:sp3d>
        </p:spPr>
      </p:pic>
      <p:pic>
        <p:nvPicPr>
          <p:cNvPr id="73" name="Resim 72">
            <a:extLst>
              <a:ext uri="{FF2B5EF4-FFF2-40B4-BE49-F238E27FC236}">
                <a16:creationId xmlns:a16="http://schemas.microsoft.com/office/drawing/2014/main" id="{38FB51CD-5A37-4EC6-B2F5-3EB05BBB5CF0}"/>
              </a:ext>
            </a:extLst>
          </p:cNvPr>
          <p:cNvPicPr>
            <a:picLocks noChangeAspect="1"/>
          </p:cNvPicPr>
          <p:nvPr/>
        </p:nvPicPr>
        <p:blipFill>
          <a:blip r:embed="rId8"/>
          <a:stretch>
            <a:fillRect/>
          </a:stretch>
        </p:blipFill>
        <p:spPr>
          <a:xfrm>
            <a:off x="6096000" y="1972916"/>
            <a:ext cx="4569947" cy="3183802"/>
          </a:xfrm>
          <a:prstGeom prst="rect">
            <a:avLst/>
          </a:prstGeom>
          <a:effectLst/>
          <a:scene3d>
            <a:camera prst="orthographicFront"/>
            <a:lightRig rig="threePt" dir="t"/>
          </a:scene3d>
          <a:sp3d prstMaterial="dkEdge">
            <a:bevelT/>
            <a:bevelB/>
          </a:sp3d>
        </p:spPr>
      </p:pic>
    </p:spTree>
    <p:extLst>
      <p:ext uri="{BB962C8B-B14F-4D97-AF65-F5344CB8AC3E}">
        <p14:creationId xmlns:p14="http://schemas.microsoft.com/office/powerpoint/2010/main" val="2680337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9" name="Grafik 7">
            <a:extLst>
              <a:ext uri="{FF2B5EF4-FFF2-40B4-BE49-F238E27FC236}">
                <a16:creationId xmlns:a16="http://schemas.microsoft.com/office/drawing/2014/main" id="{3ED37854-B45F-47E3-88EF-2E587F6E1C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527" y="6287609"/>
            <a:ext cx="1283363" cy="303016"/>
          </a:xfrm>
          <a:prstGeom prst="rect">
            <a:avLst/>
          </a:prstGeom>
        </p:spPr>
      </p:pic>
      <p:graphicFrame>
        <p:nvGraphicFramePr>
          <p:cNvPr id="14" name="Diagram 13">
            <a:extLst>
              <a:ext uri="{FF2B5EF4-FFF2-40B4-BE49-F238E27FC236}">
                <a16:creationId xmlns:a16="http://schemas.microsoft.com/office/drawing/2014/main" id="{C4B9AAE5-26D1-4B99-99AD-24C5CF0A83B5}"/>
              </a:ext>
            </a:extLst>
          </p:cNvPr>
          <p:cNvGraphicFramePr/>
          <p:nvPr>
            <p:extLst>
              <p:ext uri="{D42A27DB-BD31-4B8C-83A1-F6EECF244321}">
                <p14:modId xmlns:p14="http://schemas.microsoft.com/office/powerpoint/2010/main" val="2308779017"/>
              </p:ext>
            </p:extLst>
          </p:nvPr>
        </p:nvGraphicFramePr>
        <p:xfrm>
          <a:off x="137886" y="808932"/>
          <a:ext cx="8128000"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5" name="Picture 14">
            <a:extLst>
              <a:ext uri="{FF2B5EF4-FFF2-40B4-BE49-F238E27FC236}">
                <a16:creationId xmlns:a16="http://schemas.microsoft.com/office/drawing/2014/main" id="{C8FBBB37-CEDB-4952-8A14-069A343AD5E5}"/>
              </a:ext>
            </a:extLst>
          </p:cNvPr>
          <p:cNvPicPr>
            <a:picLocks noChangeAspect="1"/>
          </p:cNvPicPr>
          <p:nvPr/>
        </p:nvPicPr>
        <p:blipFill>
          <a:blip r:embed="rId12"/>
          <a:stretch>
            <a:fillRect/>
          </a:stretch>
        </p:blipFill>
        <p:spPr>
          <a:xfrm>
            <a:off x="7885712" y="1694421"/>
            <a:ext cx="3606701" cy="3647687"/>
          </a:xfrm>
          <a:prstGeom prst="rect">
            <a:avLst/>
          </a:prstGeom>
        </p:spPr>
      </p:pic>
    </p:spTree>
    <p:extLst>
      <p:ext uri="{BB962C8B-B14F-4D97-AF65-F5344CB8AC3E}">
        <p14:creationId xmlns:p14="http://schemas.microsoft.com/office/powerpoint/2010/main" val="112986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6553BA3-EFB0-41C5-AE06-DA7BB27BACD8}"/>
              </a:ext>
            </a:extLst>
          </p:cNvPr>
          <p:cNvPicPr>
            <a:picLocks noChangeAspect="1"/>
          </p:cNvPicPr>
          <p:nvPr/>
        </p:nvPicPr>
        <p:blipFill>
          <a:blip r:embed="rId2"/>
          <a:stretch>
            <a:fillRect/>
          </a:stretch>
        </p:blipFill>
        <p:spPr>
          <a:xfrm>
            <a:off x="9290049" y="1416803"/>
            <a:ext cx="2699039" cy="2461570"/>
          </a:xfrm>
          <a:prstGeom prst="rect">
            <a:avLst/>
          </a:prstGeom>
        </p:spPr>
      </p:pic>
      <p:sp>
        <p:nvSpPr>
          <p:cNvPr id="8" name="Başlık 14">
            <a:extLst>
              <a:ext uri="{FF2B5EF4-FFF2-40B4-BE49-F238E27FC236}">
                <a16:creationId xmlns:a16="http://schemas.microsoft.com/office/drawing/2014/main" id="{AB9030DD-D2A7-4F27-B7A1-52948C0E56B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latin typeface="+mn-lt"/>
              </a:rPr>
              <a:t>Titreşim Ölçümü</a:t>
            </a:r>
          </a:p>
        </p:txBody>
      </p:sp>
      <p:pic>
        <p:nvPicPr>
          <p:cNvPr id="11" name="Picture 10">
            <a:extLst>
              <a:ext uri="{FF2B5EF4-FFF2-40B4-BE49-F238E27FC236}">
                <a16:creationId xmlns:a16="http://schemas.microsoft.com/office/drawing/2014/main" id="{B912A5EA-60B8-46D9-B0A4-5DE81895ADA3}"/>
              </a:ext>
            </a:extLst>
          </p:cNvPr>
          <p:cNvPicPr>
            <a:picLocks noChangeAspect="1"/>
          </p:cNvPicPr>
          <p:nvPr/>
        </p:nvPicPr>
        <p:blipFill>
          <a:blip r:embed="rId3"/>
          <a:stretch>
            <a:fillRect/>
          </a:stretch>
        </p:blipFill>
        <p:spPr>
          <a:xfrm>
            <a:off x="1066681" y="4441274"/>
            <a:ext cx="9692958" cy="1860462"/>
          </a:xfrm>
          <a:prstGeom prst="rect">
            <a:avLst/>
          </a:prstGeom>
        </p:spPr>
      </p:pic>
      <p:pic>
        <p:nvPicPr>
          <p:cNvPr id="6" name="Resim 4">
            <a:extLst>
              <a:ext uri="{FF2B5EF4-FFF2-40B4-BE49-F238E27FC236}">
                <a16:creationId xmlns:a16="http://schemas.microsoft.com/office/drawing/2014/main" id="{7D17EAB3-C27C-47B9-825C-4C8985B038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7" name="Resim 5">
            <a:extLst>
              <a:ext uri="{FF2B5EF4-FFF2-40B4-BE49-F238E27FC236}">
                <a16:creationId xmlns:a16="http://schemas.microsoft.com/office/drawing/2014/main" id="{F8BA8454-33C5-47F5-B303-DB2AE07DF89A}"/>
              </a:ext>
            </a:extLst>
          </p:cNvPr>
          <p:cNvPicPr>
            <a:picLocks noChangeAspect="1"/>
          </p:cNvPicPr>
          <p:nvPr/>
        </p:nvPicPr>
        <p:blipFill>
          <a:blip r:embed="rId5"/>
          <a:stretch>
            <a:fillRect/>
          </a:stretch>
        </p:blipFill>
        <p:spPr>
          <a:xfrm>
            <a:off x="10862275" y="197159"/>
            <a:ext cx="1056187" cy="309127"/>
          </a:xfrm>
          <a:prstGeom prst="rect">
            <a:avLst/>
          </a:prstGeom>
        </p:spPr>
      </p:pic>
      <p:pic>
        <p:nvPicPr>
          <p:cNvPr id="12" name="Resim 6">
            <a:extLst>
              <a:ext uri="{FF2B5EF4-FFF2-40B4-BE49-F238E27FC236}">
                <a16:creationId xmlns:a16="http://schemas.microsoft.com/office/drawing/2014/main" id="{E0EA0BFA-6B15-4D7C-9E3B-CB46A13AD08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2" name="TextBox 1">
            <a:extLst>
              <a:ext uri="{FF2B5EF4-FFF2-40B4-BE49-F238E27FC236}">
                <a16:creationId xmlns:a16="http://schemas.microsoft.com/office/drawing/2014/main" id="{0BCD64DA-B029-4BF3-8609-A88E6333663B}"/>
              </a:ext>
            </a:extLst>
          </p:cNvPr>
          <p:cNvSpPr txBox="1"/>
          <p:nvPr/>
        </p:nvSpPr>
        <p:spPr>
          <a:xfrm>
            <a:off x="531843" y="1182609"/>
            <a:ext cx="3638939" cy="369332"/>
          </a:xfrm>
          <a:prstGeom prst="rect">
            <a:avLst/>
          </a:prstGeom>
          <a:noFill/>
        </p:spPr>
        <p:txBody>
          <a:bodyPr wrap="square" rtlCol="0">
            <a:spAutoFit/>
          </a:bodyPr>
          <a:lstStyle/>
          <a:p>
            <a:r>
              <a:rPr lang="tr-TR" u="sng" dirty="0"/>
              <a:t>1) Offline titreşim Ölçümleri</a:t>
            </a:r>
          </a:p>
        </p:txBody>
      </p:sp>
      <p:sp>
        <p:nvSpPr>
          <p:cNvPr id="13" name="TextBox 12">
            <a:extLst>
              <a:ext uri="{FF2B5EF4-FFF2-40B4-BE49-F238E27FC236}">
                <a16:creationId xmlns:a16="http://schemas.microsoft.com/office/drawing/2014/main" id="{41E2AACA-CF93-4C2F-93C3-C956F11CCD96}"/>
              </a:ext>
            </a:extLst>
          </p:cNvPr>
          <p:cNvSpPr txBox="1"/>
          <p:nvPr/>
        </p:nvSpPr>
        <p:spPr>
          <a:xfrm>
            <a:off x="531843" y="1498759"/>
            <a:ext cx="8425546" cy="3416320"/>
          </a:xfrm>
          <a:prstGeom prst="rect">
            <a:avLst/>
          </a:prstGeom>
          <a:noFill/>
        </p:spPr>
        <p:txBody>
          <a:bodyPr wrap="square" rtlCol="0">
            <a:spAutoFit/>
          </a:bodyPr>
          <a:lstStyle/>
          <a:p>
            <a:pPr marL="285750" indent="-285750">
              <a:buFont typeface="Arial" panose="020B0604020202020204" pitchFamily="34" charset="0"/>
              <a:buChar char="•"/>
            </a:pPr>
            <a:r>
              <a:rPr lang="tr-TR" dirty="0" err="1"/>
              <a:t>Portable</a:t>
            </a:r>
            <a:r>
              <a:rPr lang="tr-TR" dirty="0"/>
              <a:t> cihaz kullanılarak ölçümler alınmaktadır. </a:t>
            </a:r>
          </a:p>
          <a:p>
            <a:pPr marL="285750" indent="-285750">
              <a:buFont typeface="Arial" panose="020B0604020202020204" pitchFamily="34" charset="0"/>
              <a:buChar char="•"/>
            </a:pPr>
            <a:r>
              <a:rPr lang="tr-TR" dirty="0"/>
              <a:t>Ekipmanın çeşidi ve durumuna göre 3 eksenli ve tek eksenli </a:t>
            </a:r>
            <a:r>
              <a:rPr lang="tr-TR" dirty="0" err="1"/>
              <a:t>sensörler</a:t>
            </a:r>
            <a:r>
              <a:rPr lang="tr-TR" dirty="0"/>
              <a:t> kullanılmakta, gerekli durumlarda faz ölçümleri yapılarak analizler desteklenmektedir. </a:t>
            </a:r>
          </a:p>
          <a:p>
            <a:pPr marL="285750" indent="-285750">
              <a:buFont typeface="Arial" panose="020B0604020202020204" pitchFamily="34" charset="0"/>
              <a:buChar char="•"/>
            </a:pPr>
            <a:r>
              <a:rPr lang="tr-TR" dirty="0"/>
              <a:t>Ölçümler tur adını verdiğimiz sahalara bölünerek periyodik olarak yapılmaktadır. </a:t>
            </a:r>
          </a:p>
          <a:p>
            <a:pPr marL="285750" indent="-285750">
              <a:buFont typeface="Arial" panose="020B0604020202020204" pitchFamily="34" charset="0"/>
              <a:buChar char="•"/>
            </a:pPr>
            <a:r>
              <a:rPr lang="tr-TR" dirty="0"/>
              <a:t>Her ay yapılan turlarda tüm ekipmanların çalıştırılması beklenmez. </a:t>
            </a:r>
          </a:p>
          <a:p>
            <a:pPr marL="285750" indent="-285750">
              <a:buFont typeface="Arial" panose="020B0604020202020204" pitchFamily="34" charset="0"/>
              <a:buChar char="•"/>
            </a:pPr>
            <a:r>
              <a:rPr lang="tr-TR" dirty="0"/>
              <a:t>Ekipmanların çalışma periyodları ACA skorlarına yani ekipmanların kritikliklerine göre belirlenmekte ve gerçekleştirilmektedir. </a:t>
            </a:r>
          </a:p>
          <a:p>
            <a:pPr marL="285750" indent="-285750">
              <a:buFont typeface="Arial" panose="020B0604020202020204" pitchFamily="34" charset="0"/>
              <a:buChar char="•"/>
            </a:pPr>
            <a:r>
              <a:rPr lang="tr-TR" dirty="0"/>
              <a:t>Buna paralel olarak yedek ekipman takvimleri oluşturulur, takip edilir ve işletilir. </a:t>
            </a:r>
          </a:p>
          <a:p>
            <a:pPr marL="285750" indent="-285750">
              <a:buFont typeface="Arial" panose="020B0604020202020204" pitchFamily="34" charset="0"/>
              <a:buChar char="•"/>
            </a:pPr>
            <a:r>
              <a:rPr lang="tr-TR" dirty="0"/>
              <a:t>Genel olarak değerlendirildiğinde; titreşim verileri ISO 13373-3’de verilen yöntemlere uygun şekilde, ISO 18436-2’ye uygun eğitim almış personeller tarafından yapılır.</a:t>
            </a:r>
          </a:p>
          <a:p>
            <a:pPr marL="285750" indent="-285750">
              <a:buFont typeface="Arial" panose="020B0604020202020204" pitchFamily="34" charset="0"/>
              <a:buChar char="•"/>
            </a:pPr>
            <a:endParaRPr lang="tr-TR" dirty="0"/>
          </a:p>
          <a:p>
            <a:pPr marL="285750" indent="-285750">
              <a:buFont typeface="Arial" panose="020B0604020202020204" pitchFamily="34" charset="0"/>
              <a:buChar char="•"/>
            </a:pPr>
            <a:endParaRPr lang="tr-TR" dirty="0"/>
          </a:p>
        </p:txBody>
      </p:sp>
      <p:pic>
        <p:nvPicPr>
          <p:cNvPr id="15" name="Grafik 7">
            <a:extLst>
              <a:ext uri="{FF2B5EF4-FFF2-40B4-BE49-F238E27FC236}">
                <a16:creationId xmlns:a16="http://schemas.microsoft.com/office/drawing/2014/main" id="{D8A7FC56-1ABF-46D0-93BB-72E57AC4F7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1828691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FBEE9B-71C1-034A-AC59-288378A54615}"/>
              </a:ext>
            </a:extLst>
          </p:cNvPr>
          <p:cNvSpPr>
            <a:spLocks noGrp="1"/>
          </p:cNvSpPr>
          <p:nvPr>
            <p:ph idx="1"/>
          </p:nvPr>
        </p:nvSpPr>
        <p:spPr>
          <a:xfrm>
            <a:off x="578733" y="1289736"/>
            <a:ext cx="11447804" cy="4856163"/>
          </a:xfrm>
        </p:spPr>
        <p:txBody>
          <a:bodyPr>
            <a:normAutofit/>
          </a:bodyPr>
          <a:lstStyle/>
          <a:p>
            <a:pPr marL="0" indent="0">
              <a:buNone/>
            </a:pPr>
            <a:r>
              <a:rPr lang="tr-TR" sz="2400" b="1" u="sng" dirty="0"/>
              <a:t>Motorda </a:t>
            </a:r>
            <a:r>
              <a:rPr lang="tr-TR" sz="2400" b="1" u="sng" dirty="0" err="1"/>
              <a:t>Fluting</a:t>
            </a:r>
            <a:r>
              <a:rPr lang="tr-TR" sz="2400" b="1" u="sng" dirty="0"/>
              <a:t> Tespiti</a:t>
            </a:r>
          </a:p>
        </p:txBody>
      </p:sp>
      <p:sp>
        <p:nvSpPr>
          <p:cNvPr id="12" name="TextBox 11">
            <a:extLst>
              <a:ext uri="{FF2B5EF4-FFF2-40B4-BE49-F238E27FC236}">
                <a16:creationId xmlns:a16="http://schemas.microsoft.com/office/drawing/2014/main" id="{67A14381-AA8D-4EA9-B093-DB4871235A5E}"/>
              </a:ext>
            </a:extLst>
          </p:cNvPr>
          <p:cNvSpPr txBox="1"/>
          <p:nvPr/>
        </p:nvSpPr>
        <p:spPr>
          <a:xfrm>
            <a:off x="578733" y="1599367"/>
            <a:ext cx="11272955" cy="2031325"/>
          </a:xfrm>
          <a:prstGeom prst="rect">
            <a:avLst/>
          </a:prstGeom>
          <a:noFill/>
        </p:spPr>
        <p:txBody>
          <a:bodyPr wrap="square" rtlCol="0">
            <a:spAutoFit/>
          </a:bodyPr>
          <a:lstStyle/>
          <a:p>
            <a:pPr marL="285750" indent="-285750">
              <a:buFontTx/>
              <a:buChar char="-"/>
            </a:pPr>
            <a:r>
              <a:rPr lang="tr-TR" dirty="0"/>
              <a:t>Ekipmanda Haziran ayında yapılan rulman bakımı sonrası kasım ayında rulman arıza sinyalleri tekrar görülmüştür. Kısa sürede oluşan ve tekrarlanan arızada </a:t>
            </a:r>
            <a:r>
              <a:rPr lang="tr-TR" dirty="0" err="1"/>
              <a:t>fluting</a:t>
            </a:r>
            <a:r>
              <a:rPr lang="tr-TR" dirty="0"/>
              <a:t> den şüphelenilmiştir. </a:t>
            </a:r>
          </a:p>
          <a:p>
            <a:pPr marL="285750" indent="-285750">
              <a:buFontTx/>
              <a:buChar char="-"/>
            </a:pPr>
            <a:r>
              <a:rPr lang="tr-TR" dirty="0"/>
              <a:t>Yapılan analizde hem iç hem dış bilezik arıza sinyalleri net bir şekilde görülmüştür. </a:t>
            </a:r>
          </a:p>
          <a:p>
            <a:pPr marL="285750" indent="-285750">
              <a:buFontTx/>
              <a:buChar char="-"/>
            </a:pPr>
            <a:r>
              <a:rPr lang="tr-TR" dirty="0"/>
              <a:t>Bakıma alınan motorun NDE yatağında </a:t>
            </a:r>
            <a:r>
              <a:rPr lang="tr-TR" dirty="0" err="1"/>
              <a:t>Fluting</a:t>
            </a:r>
            <a:r>
              <a:rPr lang="tr-TR" dirty="0"/>
              <a:t> arızası tespiti yapılmıştır. İlgili arızanın rulman üzerinden geçen akım nedeniyle oluştuğu bilinmektedir. Bu nedenle elektrik bakım ekibi tarafından </a:t>
            </a:r>
            <a:r>
              <a:rPr lang="tr-TR" dirty="0" err="1"/>
              <a:t>Vendor</a:t>
            </a:r>
            <a:r>
              <a:rPr lang="tr-TR" dirty="0"/>
              <a:t> den ilgili akımın nedeni ve gerekli önlemleri için bilgi alınarak aksiyonlar tamamlanmış kullanıma hazır hale getirilmiştir. </a:t>
            </a:r>
          </a:p>
          <a:p>
            <a:pPr marL="285750" indent="-285750">
              <a:buFontTx/>
              <a:buChar char="-"/>
            </a:pPr>
            <a:endParaRPr lang="tr-TR" dirty="0"/>
          </a:p>
        </p:txBody>
      </p:sp>
      <p:pic>
        <p:nvPicPr>
          <p:cNvPr id="4" name="Picture 3">
            <a:extLst>
              <a:ext uri="{FF2B5EF4-FFF2-40B4-BE49-F238E27FC236}">
                <a16:creationId xmlns:a16="http://schemas.microsoft.com/office/drawing/2014/main" id="{84C95CBF-4FB3-4A4A-952B-47B5369D0732}"/>
              </a:ext>
            </a:extLst>
          </p:cNvPr>
          <p:cNvPicPr>
            <a:picLocks noChangeAspect="1"/>
          </p:cNvPicPr>
          <p:nvPr/>
        </p:nvPicPr>
        <p:blipFill>
          <a:blip r:embed="rId2"/>
          <a:stretch>
            <a:fillRect/>
          </a:stretch>
        </p:blipFill>
        <p:spPr>
          <a:xfrm>
            <a:off x="5508790" y="3438331"/>
            <a:ext cx="5441295" cy="3227851"/>
          </a:xfrm>
          <a:prstGeom prst="rect">
            <a:avLst/>
          </a:prstGeom>
        </p:spPr>
      </p:pic>
      <p:pic>
        <p:nvPicPr>
          <p:cNvPr id="5" name="Picture 4">
            <a:extLst>
              <a:ext uri="{FF2B5EF4-FFF2-40B4-BE49-F238E27FC236}">
                <a16:creationId xmlns:a16="http://schemas.microsoft.com/office/drawing/2014/main" id="{F42ADFF2-5349-45C6-B675-FB6FD85D25C7}"/>
              </a:ext>
            </a:extLst>
          </p:cNvPr>
          <p:cNvPicPr>
            <a:picLocks noChangeAspect="1"/>
          </p:cNvPicPr>
          <p:nvPr/>
        </p:nvPicPr>
        <p:blipFill>
          <a:blip r:embed="rId3"/>
          <a:stretch>
            <a:fillRect/>
          </a:stretch>
        </p:blipFill>
        <p:spPr>
          <a:xfrm>
            <a:off x="1349507" y="3458259"/>
            <a:ext cx="1689589" cy="3060911"/>
          </a:xfrm>
          <a:prstGeom prst="rect">
            <a:avLst/>
          </a:prstGeom>
        </p:spPr>
      </p:pic>
      <p:pic>
        <p:nvPicPr>
          <p:cNvPr id="6" name="Picture 5">
            <a:extLst>
              <a:ext uri="{FF2B5EF4-FFF2-40B4-BE49-F238E27FC236}">
                <a16:creationId xmlns:a16="http://schemas.microsoft.com/office/drawing/2014/main" id="{CE283014-724E-4A59-9CA3-F5E6EBD35FE8}"/>
              </a:ext>
            </a:extLst>
          </p:cNvPr>
          <p:cNvPicPr>
            <a:picLocks noChangeAspect="1"/>
          </p:cNvPicPr>
          <p:nvPr/>
        </p:nvPicPr>
        <p:blipFill>
          <a:blip r:embed="rId4"/>
          <a:stretch>
            <a:fillRect/>
          </a:stretch>
        </p:blipFill>
        <p:spPr>
          <a:xfrm>
            <a:off x="3405249" y="3455295"/>
            <a:ext cx="1281373" cy="3063875"/>
          </a:xfrm>
          <a:prstGeom prst="rect">
            <a:avLst/>
          </a:prstGeom>
        </p:spPr>
      </p:pic>
      <p:pic>
        <p:nvPicPr>
          <p:cNvPr id="8" name="Resim 4">
            <a:extLst>
              <a:ext uri="{FF2B5EF4-FFF2-40B4-BE49-F238E27FC236}">
                <a16:creationId xmlns:a16="http://schemas.microsoft.com/office/drawing/2014/main" id="{F8FBA976-F91D-41C0-BF94-7A31DFDE987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522698"/>
            <a:ext cx="1853366" cy="2619632"/>
          </a:xfrm>
          <a:prstGeom prst="rect">
            <a:avLst/>
          </a:prstGeom>
        </p:spPr>
      </p:pic>
      <p:pic>
        <p:nvPicPr>
          <p:cNvPr id="9" name="Resim 5">
            <a:extLst>
              <a:ext uri="{FF2B5EF4-FFF2-40B4-BE49-F238E27FC236}">
                <a16:creationId xmlns:a16="http://schemas.microsoft.com/office/drawing/2014/main" id="{8412BDDE-28F7-4A39-BBAC-BD4779CFC71E}"/>
              </a:ext>
            </a:extLst>
          </p:cNvPr>
          <p:cNvPicPr>
            <a:picLocks noChangeAspect="1"/>
          </p:cNvPicPr>
          <p:nvPr/>
        </p:nvPicPr>
        <p:blipFill>
          <a:blip r:embed="rId6"/>
          <a:stretch>
            <a:fillRect/>
          </a:stretch>
        </p:blipFill>
        <p:spPr>
          <a:xfrm>
            <a:off x="10862275" y="197159"/>
            <a:ext cx="1056187" cy="309127"/>
          </a:xfrm>
          <a:prstGeom prst="rect">
            <a:avLst/>
          </a:prstGeom>
        </p:spPr>
      </p:pic>
      <p:pic>
        <p:nvPicPr>
          <p:cNvPr id="10" name="Resim 6">
            <a:extLst>
              <a:ext uri="{FF2B5EF4-FFF2-40B4-BE49-F238E27FC236}">
                <a16:creationId xmlns:a16="http://schemas.microsoft.com/office/drawing/2014/main" id="{310DB59C-0DC2-42B1-9011-61193358907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13" name="Grafik 7">
            <a:extLst>
              <a:ext uri="{FF2B5EF4-FFF2-40B4-BE49-F238E27FC236}">
                <a16:creationId xmlns:a16="http://schemas.microsoft.com/office/drawing/2014/main" id="{0B8F51F2-0C66-406D-8CBE-89CD1BA273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7" y="6287609"/>
            <a:ext cx="1283363" cy="303016"/>
          </a:xfrm>
          <a:prstGeom prst="rect">
            <a:avLst/>
          </a:prstGeom>
        </p:spPr>
      </p:pic>
      <p:sp>
        <p:nvSpPr>
          <p:cNvPr id="14" name="Başlık 14">
            <a:extLst>
              <a:ext uri="{FF2B5EF4-FFF2-40B4-BE49-F238E27FC236}">
                <a16:creationId xmlns:a16="http://schemas.microsoft.com/office/drawing/2014/main" id="{82D82E79-C915-4509-B1CE-B418689BA0F2}"/>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latin typeface="+mn-lt"/>
              </a:rPr>
              <a:t>Başarılı Uygulamalar</a:t>
            </a:r>
          </a:p>
        </p:txBody>
      </p:sp>
    </p:spTree>
    <p:extLst>
      <p:ext uri="{BB962C8B-B14F-4D97-AF65-F5344CB8AC3E}">
        <p14:creationId xmlns:p14="http://schemas.microsoft.com/office/powerpoint/2010/main" val="2332446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FBEE9B-71C1-034A-AC59-288378A54615}"/>
              </a:ext>
            </a:extLst>
          </p:cNvPr>
          <p:cNvSpPr>
            <a:spLocks noGrp="1"/>
          </p:cNvSpPr>
          <p:nvPr>
            <p:ph idx="1"/>
          </p:nvPr>
        </p:nvSpPr>
        <p:spPr>
          <a:xfrm>
            <a:off x="603035" y="1355962"/>
            <a:ext cx="11861074" cy="4856163"/>
          </a:xfrm>
        </p:spPr>
        <p:txBody>
          <a:bodyPr>
            <a:normAutofit/>
          </a:bodyPr>
          <a:lstStyle/>
          <a:p>
            <a:pPr marL="0" indent="0">
              <a:buNone/>
            </a:pPr>
            <a:r>
              <a:rPr lang="tr-TR" sz="2400" b="1" dirty="0"/>
              <a:t>Elektrik Motoru Rotorunda Gevşeklik Tespiti</a:t>
            </a:r>
            <a:endParaRPr lang="en-TR" sz="2400" b="1" dirty="0"/>
          </a:p>
        </p:txBody>
      </p:sp>
      <p:pic>
        <p:nvPicPr>
          <p:cNvPr id="8" name="Resim 4">
            <a:extLst>
              <a:ext uri="{FF2B5EF4-FFF2-40B4-BE49-F238E27FC236}">
                <a16:creationId xmlns:a16="http://schemas.microsoft.com/office/drawing/2014/main" id="{F8FBA976-F91D-41C0-BF94-7A31DFDE98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22698"/>
            <a:ext cx="1853366" cy="2619632"/>
          </a:xfrm>
          <a:prstGeom prst="rect">
            <a:avLst/>
          </a:prstGeom>
        </p:spPr>
      </p:pic>
      <p:pic>
        <p:nvPicPr>
          <p:cNvPr id="9" name="Resim 5">
            <a:extLst>
              <a:ext uri="{FF2B5EF4-FFF2-40B4-BE49-F238E27FC236}">
                <a16:creationId xmlns:a16="http://schemas.microsoft.com/office/drawing/2014/main" id="{8412BDDE-28F7-4A39-BBAC-BD4779CFC71E}"/>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10" name="Resim 6">
            <a:extLst>
              <a:ext uri="{FF2B5EF4-FFF2-40B4-BE49-F238E27FC236}">
                <a16:creationId xmlns:a16="http://schemas.microsoft.com/office/drawing/2014/main" id="{310DB59C-0DC2-42B1-9011-61193358907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13" name="Metin kutusu 12"/>
          <p:cNvSpPr txBox="1"/>
          <p:nvPr/>
        </p:nvSpPr>
        <p:spPr>
          <a:xfrm>
            <a:off x="707208" y="1820715"/>
            <a:ext cx="1980804" cy="4001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tr-TR" sz="2000" b="1" u="sng" dirty="0"/>
              <a:t>Ekipman Bilgileri</a:t>
            </a:r>
          </a:p>
        </p:txBody>
      </p:sp>
      <p:pic>
        <p:nvPicPr>
          <p:cNvPr id="14" name="Resim 13"/>
          <p:cNvPicPr>
            <a:picLocks noChangeAspect="1"/>
          </p:cNvPicPr>
          <p:nvPr/>
        </p:nvPicPr>
        <p:blipFill>
          <a:blip r:embed="rId5"/>
          <a:stretch>
            <a:fillRect/>
          </a:stretch>
        </p:blipFill>
        <p:spPr>
          <a:xfrm>
            <a:off x="3518494" y="3407623"/>
            <a:ext cx="6651394" cy="2556170"/>
          </a:xfrm>
          <a:prstGeom prst="rect">
            <a:avLst/>
          </a:prstGeom>
        </p:spPr>
      </p:pic>
      <p:pic>
        <p:nvPicPr>
          <p:cNvPr id="15" name="Resim 14"/>
          <p:cNvPicPr>
            <a:picLocks noChangeAspect="1"/>
          </p:cNvPicPr>
          <p:nvPr/>
        </p:nvPicPr>
        <p:blipFill>
          <a:blip r:embed="rId6"/>
          <a:stretch>
            <a:fillRect/>
          </a:stretch>
        </p:blipFill>
        <p:spPr>
          <a:xfrm>
            <a:off x="731774" y="2329844"/>
            <a:ext cx="2392816" cy="3045402"/>
          </a:xfrm>
          <a:prstGeom prst="rect">
            <a:avLst/>
          </a:prstGeom>
        </p:spPr>
      </p:pic>
      <p:pic>
        <p:nvPicPr>
          <p:cNvPr id="16" name="Resim 15"/>
          <p:cNvPicPr>
            <a:picLocks noChangeAspect="1"/>
          </p:cNvPicPr>
          <p:nvPr/>
        </p:nvPicPr>
        <p:blipFill>
          <a:blip r:embed="rId7"/>
          <a:stretch>
            <a:fillRect/>
          </a:stretch>
        </p:blipFill>
        <p:spPr>
          <a:xfrm>
            <a:off x="731776" y="5413376"/>
            <a:ext cx="2392814" cy="860338"/>
          </a:xfrm>
          <a:prstGeom prst="rect">
            <a:avLst/>
          </a:prstGeom>
        </p:spPr>
      </p:pic>
      <p:pic>
        <p:nvPicPr>
          <p:cNvPr id="12" name="Grafik 7">
            <a:extLst>
              <a:ext uri="{FF2B5EF4-FFF2-40B4-BE49-F238E27FC236}">
                <a16:creationId xmlns:a16="http://schemas.microsoft.com/office/drawing/2014/main" id="{845F7E32-B6C5-4210-9940-A6E43ACEE6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7" y="6287609"/>
            <a:ext cx="1283363" cy="303016"/>
          </a:xfrm>
          <a:prstGeom prst="rect">
            <a:avLst/>
          </a:prstGeom>
        </p:spPr>
      </p:pic>
      <p:sp>
        <p:nvSpPr>
          <p:cNvPr id="18" name="Başlık 14">
            <a:extLst>
              <a:ext uri="{FF2B5EF4-FFF2-40B4-BE49-F238E27FC236}">
                <a16:creationId xmlns:a16="http://schemas.microsoft.com/office/drawing/2014/main" id="{A89A5F8A-5A3F-448A-AFDA-5E9F9D100F4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latin typeface="+mn-lt"/>
              </a:rPr>
              <a:t>Başarılı Uygulamalar</a:t>
            </a:r>
          </a:p>
        </p:txBody>
      </p:sp>
    </p:spTree>
    <p:extLst>
      <p:ext uri="{BB962C8B-B14F-4D97-AF65-F5344CB8AC3E}">
        <p14:creationId xmlns:p14="http://schemas.microsoft.com/office/powerpoint/2010/main" val="88808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FBEE9B-71C1-034A-AC59-288378A54615}"/>
              </a:ext>
            </a:extLst>
          </p:cNvPr>
          <p:cNvSpPr>
            <a:spLocks noGrp="1"/>
          </p:cNvSpPr>
          <p:nvPr>
            <p:ph idx="1"/>
          </p:nvPr>
        </p:nvSpPr>
        <p:spPr>
          <a:xfrm>
            <a:off x="512703" y="1311380"/>
            <a:ext cx="11861074" cy="4856163"/>
          </a:xfrm>
        </p:spPr>
        <p:txBody>
          <a:bodyPr>
            <a:normAutofit/>
          </a:bodyPr>
          <a:lstStyle/>
          <a:p>
            <a:pPr marL="0" indent="0">
              <a:buNone/>
            </a:pPr>
            <a:r>
              <a:rPr lang="tr-TR" sz="2400" b="1" dirty="0"/>
              <a:t>Elektrik Motoru Rotorunda Gevşeklik Tespiti</a:t>
            </a:r>
            <a:endParaRPr lang="en-TR" sz="2400" b="1" dirty="0"/>
          </a:p>
        </p:txBody>
      </p:sp>
      <p:pic>
        <p:nvPicPr>
          <p:cNvPr id="8" name="Resim 4">
            <a:extLst>
              <a:ext uri="{FF2B5EF4-FFF2-40B4-BE49-F238E27FC236}">
                <a16:creationId xmlns:a16="http://schemas.microsoft.com/office/drawing/2014/main" id="{F8FBA976-F91D-41C0-BF94-7A31DFDE98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22698"/>
            <a:ext cx="1853366" cy="2619632"/>
          </a:xfrm>
          <a:prstGeom prst="rect">
            <a:avLst/>
          </a:prstGeom>
        </p:spPr>
      </p:pic>
      <p:pic>
        <p:nvPicPr>
          <p:cNvPr id="9" name="Resim 5">
            <a:extLst>
              <a:ext uri="{FF2B5EF4-FFF2-40B4-BE49-F238E27FC236}">
                <a16:creationId xmlns:a16="http://schemas.microsoft.com/office/drawing/2014/main" id="{8412BDDE-28F7-4A39-BBAC-BD4779CFC71E}"/>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10" name="Resim 6">
            <a:extLst>
              <a:ext uri="{FF2B5EF4-FFF2-40B4-BE49-F238E27FC236}">
                <a16:creationId xmlns:a16="http://schemas.microsoft.com/office/drawing/2014/main" id="{310DB59C-0DC2-42B1-9011-61193358907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13" name="Metin kutusu 12"/>
          <p:cNvSpPr txBox="1"/>
          <p:nvPr/>
        </p:nvSpPr>
        <p:spPr>
          <a:xfrm>
            <a:off x="510237" y="1679020"/>
            <a:ext cx="3711664" cy="4001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tr-TR" sz="2000" b="1" u="sng" dirty="0"/>
              <a:t>Arıza Özeti ve FFT Grafikleri</a:t>
            </a:r>
          </a:p>
        </p:txBody>
      </p:sp>
      <p:sp>
        <p:nvSpPr>
          <p:cNvPr id="14" name="Content Placeholder 2">
            <a:extLst>
              <a:ext uri="{FF2B5EF4-FFF2-40B4-BE49-F238E27FC236}">
                <a16:creationId xmlns:a16="http://schemas.microsoft.com/office/drawing/2014/main" id="{CEFBEE9B-71C1-034A-AC59-288378A54615}"/>
              </a:ext>
            </a:extLst>
          </p:cNvPr>
          <p:cNvSpPr txBox="1">
            <a:spLocks/>
          </p:cNvSpPr>
          <p:nvPr/>
        </p:nvSpPr>
        <p:spPr>
          <a:xfrm>
            <a:off x="519572" y="2079130"/>
            <a:ext cx="10948851" cy="14182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Wingdings" panose="05000000000000000000" pitchFamily="2" charset="2"/>
              <a:buChar char="Ø"/>
            </a:pPr>
            <a:r>
              <a:rPr lang="tr-TR" sz="1400" dirty="0"/>
              <a:t>2022 yılı Nisan ayında yapılan titreşim ölçümünde, elektrik motorunun rotor çubuklarında gevşek bağlantı problemi olduğu tespit edilmiştir.</a:t>
            </a:r>
          </a:p>
          <a:p>
            <a:pPr algn="just">
              <a:buFont typeface="Wingdings" panose="05000000000000000000" pitchFamily="2" charset="2"/>
              <a:buChar char="Ø"/>
            </a:pPr>
            <a:r>
              <a:rPr lang="tr-TR" sz="1400" dirty="0"/>
              <a:t>Bu durum yalnızca motorun NDE yatağında titreşim artışına sebep olmuştur.</a:t>
            </a:r>
          </a:p>
          <a:p>
            <a:pPr algn="just">
              <a:buFont typeface="Wingdings" panose="05000000000000000000" pitchFamily="2" charset="2"/>
              <a:buChar char="Ø"/>
            </a:pPr>
            <a:r>
              <a:rPr lang="tr-TR" sz="1400" dirty="0"/>
              <a:t>Rotor bar frekansı (RBF) ve bu frekansın 2xhat frekansı (2xLF) yan bantlarındaki yüksek genlikler, FFT grafiklerinde görüldüğü üzere titreşim artışına sebep olmuştur.</a:t>
            </a:r>
          </a:p>
          <a:p>
            <a:pPr algn="just">
              <a:buFont typeface="Wingdings" panose="05000000000000000000" pitchFamily="2" charset="2"/>
              <a:buChar char="Ø"/>
            </a:pPr>
            <a:r>
              <a:rPr lang="tr-TR" sz="1400" dirty="0"/>
              <a:t>Mayıs ayında yapılan bakım çalışması ile rotorda tespit edilen gevşeklik giderilmiş ve titreşim değeri normal çalışma seviyelerine inmiştir.</a:t>
            </a:r>
          </a:p>
          <a:p>
            <a:pPr algn="just">
              <a:buFont typeface="Wingdings" panose="05000000000000000000" pitchFamily="2" charset="2"/>
              <a:buChar char="Ø"/>
            </a:pPr>
            <a:r>
              <a:rPr lang="tr-TR" sz="1400" dirty="0"/>
              <a:t>Bu durum bize; elektrik motorlarındaki spesifik problemlerin bile titreşim ile tespit edilebileceğini bir kere daha göstermektedir. Yapılan tespit ile motorda olası ciddi hasarların önüne geçilmiştir.</a:t>
            </a:r>
          </a:p>
        </p:txBody>
      </p:sp>
      <p:pic>
        <p:nvPicPr>
          <p:cNvPr id="15" name="Resim 14"/>
          <p:cNvPicPr>
            <a:picLocks noChangeAspect="1"/>
          </p:cNvPicPr>
          <p:nvPr/>
        </p:nvPicPr>
        <p:blipFill>
          <a:blip r:embed="rId5"/>
          <a:stretch>
            <a:fillRect/>
          </a:stretch>
        </p:blipFill>
        <p:spPr>
          <a:xfrm>
            <a:off x="6167723" y="4052354"/>
            <a:ext cx="4730291" cy="2348007"/>
          </a:xfrm>
          <a:prstGeom prst="rect">
            <a:avLst/>
          </a:prstGeom>
        </p:spPr>
      </p:pic>
      <p:pic>
        <p:nvPicPr>
          <p:cNvPr id="16" name="Resim 15"/>
          <p:cNvPicPr>
            <a:picLocks noChangeAspect="1"/>
          </p:cNvPicPr>
          <p:nvPr/>
        </p:nvPicPr>
        <p:blipFill>
          <a:blip r:embed="rId6"/>
          <a:stretch>
            <a:fillRect/>
          </a:stretch>
        </p:blipFill>
        <p:spPr>
          <a:xfrm>
            <a:off x="813982" y="4052796"/>
            <a:ext cx="4730291" cy="2323506"/>
          </a:xfrm>
          <a:prstGeom prst="rect">
            <a:avLst/>
          </a:prstGeom>
        </p:spPr>
      </p:pic>
      <p:cxnSp>
        <p:nvCxnSpPr>
          <p:cNvPr id="17" name="Düz Ok Bağlayıcısı 16"/>
          <p:cNvCxnSpPr>
            <a:cxnSpLocks/>
          </p:cNvCxnSpPr>
          <p:nvPr/>
        </p:nvCxnSpPr>
        <p:spPr>
          <a:xfrm flipH="1">
            <a:off x="4283539" y="4105159"/>
            <a:ext cx="226018" cy="43473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Metin kutusu 17"/>
          <p:cNvSpPr txBox="1"/>
          <p:nvPr/>
        </p:nvSpPr>
        <p:spPr>
          <a:xfrm>
            <a:off x="4402106" y="3894689"/>
            <a:ext cx="1205345" cy="261610"/>
          </a:xfrm>
          <a:prstGeom prst="rect">
            <a:avLst/>
          </a:prstGeom>
          <a:noFill/>
        </p:spPr>
        <p:txBody>
          <a:bodyPr wrap="square" rtlCol="0">
            <a:spAutoFit/>
          </a:bodyPr>
          <a:lstStyle/>
          <a:p>
            <a:r>
              <a:rPr lang="tr-TR" sz="1100" dirty="0">
                <a:solidFill>
                  <a:srgbClr val="FF0000"/>
                </a:solidFill>
              </a:rPr>
              <a:t>7.6 mm/s</a:t>
            </a:r>
          </a:p>
        </p:txBody>
      </p:sp>
      <p:cxnSp>
        <p:nvCxnSpPr>
          <p:cNvPr id="19" name="Düz Ok Bağlayıcısı 18"/>
          <p:cNvCxnSpPr/>
          <p:nvPr/>
        </p:nvCxnSpPr>
        <p:spPr>
          <a:xfrm flipH="1">
            <a:off x="9577951" y="5174329"/>
            <a:ext cx="122079" cy="4278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Metin kutusu 19"/>
          <p:cNvSpPr txBox="1"/>
          <p:nvPr/>
        </p:nvSpPr>
        <p:spPr>
          <a:xfrm>
            <a:off x="9295468" y="4912719"/>
            <a:ext cx="1205345" cy="261610"/>
          </a:xfrm>
          <a:prstGeom prst="rect">
            <a:avLst/>
          </a:prstGeom>
          <a:noFill/>
        </p:spPr>
        <p:txBody>
          <a:bodyPr wrap="square" rtlCol="0">
            <a:spAutoFit/>
          </a:bodyPr>
          <a:lstStyle/>
          <a:p>
            <a:r>
              <a:rPr lang="tr-TR" sz="1100" dirty="0">
                <a:solidFill>
                  <a:srgbClr val="FF0000"/>
                </a:solidFill>
              </a:rPr>
              <a:t>1.7 mm/s</a:t>
            </a:r>
          </a:p>
        </p:txBody>
      </p:sp>
      <p:cxnSp>
        <p:nvCxnSpPr>
          <p:cNvPr id="21" name="Düz Ok Bağlayıcısı 20"/>
          <p:cNvCxnSpPr/>
          <p:nvPr/>
        </p:nvCxnSpPr>
        <p:spPr>
          <a:xfrm flipH="1">
            <a:off x="3890729" y="5398631"/>
            <a:ext cx="19257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Metin kutusu 21"/>
          <p:cNvSpPr txBox="1"/>
          <p:nvPr/>
        </p:nvSpPr>
        <p:spPr>
          <a:xfrm>
            <a:off x="2366069" y="4323365"/>
            <a:ext cx="982288" cy="261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tr-TR" sz="1100" dirty="0">
                <a:solidFill>
                  <a:schemeClr val="bg1"/>
                </a:solidFill>
              </a:rPr>
              <a:t>Bakım Öncesi</a:t>
            </a:r>
          </a:p>
        </p:txBody>
      </p:sp>
      <p:sp>
        <p:nvSpPr>
          <p:cNvPr id="23" name="Metin kutusu 22"/>
          <p:cNvSpPr txBox="1"/>
          <p:nvPr/>
        </p:nvSpPr>
        <p:spPr>
          <a:xfrm>
            <a:off x="3081624" y="5142040"/>
            <a:ext cx="1143000" cy="246221"/>
          </a:xfrm>
          <a:prstGeom prst="rect">
            <a:avLst/>
          </a:prstGeom>
          <a:noFill/>
        </p:spPr>
        <p:txBody>
          <a:bodyPr wrap="square" rtlCol="0">
            <a:spAutoFit/>
          </a:bodyPr>
          <a:lstStyle/>
          <a:p>
            <a:r>
              <a:rPr lang="tr-TR" sz="1000" dirty="0">
                <a:solidFill>
                  <a:srgbClr val="FF0000"/>
                </a:solidFill>
              </a:rPr>
              <a:t>2xLF=6.000 CPM</a:t>
            </a:r>
          </a:p>
        </p:txBody>
      </p:sp>
      <p:cxnSp>
        <p:nvCxnSpPr>
          <p:cNvPr id="24" name="Düz Ok Bağlayıcısı 23"/>
          <p:cNvCxnSpPr/>
          <p:nvPr/>
        </p:nvCxnSpPr>
        <p:spPr>
          <a:xfrm flipH="1">
            <a:off x="3653124" y="5398631"/>
            <a:ext cx="19257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Düz Ok Bağlayıcısı 24"/>
          <p:cNvCxnSpPr/>
          <p:nvPr/>
        </p:nvCxnSpPr>
        <p:spPr>
          <a:xfrm flipH="1">
            <a:off x="3386423" y="5402356"/>
            <a:ext cx="192577"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Metin kutusu 25"/>
          <p:cNvSpPr txBox="1"/>
          <p:nvPr/>
        </p:nvSpPr>
        <p:spPr>
          <a:xfrm>
            <a:off x="7819343" y="4323365"/>
            <a:ext cx="982288" cy="261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tr-TR" sz="1100" dirty="0">
                <a:solidFill>
                  <a:schemeClr val="bg1"/>
                </a:solidFill>
              </a:rPr>
              <a:t>Bakım Sonrası</a:t>
            </a:r>
          </a:p>
        </p:txBody>
      </p:sp>
      <p:pic>
        <p:nvPicPr>
          <p:cNvPr id="27" name="Grafik 7">
            <a:extLst>
              <a:ext uri="{FF2B5EF4-FFF2-40B4-BE49-F238E27FC236}">
                <a16:creationId xmlns:a16="http://schemas.microsoft.com/office/drawing/2014/main" id="{977556FA-A58E-4E9A-BB45-C87AE99F94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
        <p:nvSpPr>
          <p:cNvPr id="28" name="Başlık 14">
            <a:extLst>
              <a:ext uri="{FF2B5EF4-FFF2-40B4-BE49-F238E27FC236}">
                <a16:creationId xmlns:a16="http://schemas.microsoft.com/office/drawing/2014/main" id="{481578C4-B09E-47A2-B981-8FC23FBF198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latin typeface="+mn-lt"/>
              </a:rPr>
              <a:t>Başarılı Uygulamalar</a:t>
            </a:r>
          </a:p>
        </p:txBody>
      </p:sp>
    </p:spTree>
    <p:extLst>
      <p:ext uri="{BB962C8B-B14F-4D97-AF65-F5344CB8AC3E}">
        <p14:creationId xmlns:p14="http://schemas.microsoft.com/office/powerpoint/2010/main" val="2977802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FBEE9B-71C1-034A-AC59-288378A54615}"/>
              </a:ext>
            </a:extLst>
          </p:cNvPr>
          <p:cNvSpPr>
            <a:spLocks noGrp="1"/>
          </p:cNvSpPr>
          <p:nvPr>
            <p:ph idx="1"/>
          </p:nvPr>
        </p:nvSpPr>
        <p:spPr>
          <a:xfrm>
            <a:off x="512703" y="1308663"/>
            <a:ext cx="11861074" cy="1916192"/>
          </a:xfrm>
        </p:spPr>
        <p:txBody>
          <a:bodyPr>
            <a:normAutofit/>
          </a:bodyPr>
          <a:lstStyle/>
          <a:p>
            <a:pPr marL="0" indent="0">
              <a:buNone/>
            </a:pPr>
            <a:r>
              <a:rPr lang="tr-TR" sz="2400" b="1" dirty="0"/>
              <a:t>Elektrik Motoru Rotorunda Gevşeklik Tespiti</a:t>
            </a:r>
            <a:endParaRPr lang="en-TR" sz="2400" b="1" dirty="0"/>
          </a:p>
        </p:txBody>
      </p:sp>
      <p:pic>
        <p:nvPicPr>
          <p:cNvPr id="8" name="Resim 4">
            <a:extLst>
              <a:ext uri="{FF2B5EF4-FFF2-40B4-BE49-F238E27FC236}">
                <a16:creationId xmlns:a16="http://schemas.microsoft.com/office/drawing/2014/main" id="{F8FBA976-F91D-41C0-BF94-7A31DFDE987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22698"/>
            <a:ext cx="1853366" cy="2619632"/>
          </a:xfrm>
          <a:prstGeom prst="rect">
            <a:avLst/>
          </a:prstGeom>
        </p:spPr>
      </p:pic>
      <p:pic>
        <p:nvPicPr>
          <p:cNvPr id="9" name="Resim 5">
            <a:extLst>
              <a:ext uri="{FF2B5EF4-FFF2-40B4-BE49-F238E27FC236}">
                <a16:creationId xmlns:a16="http://schemas.microsoft.com/office/drawing/2014/main" id="{8412BDDE-28F7-4A39-BBAC-BD4779CFC71E}"/>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10" name="Resim 6">
            <a:extLst>
              <a:ext uri="{FF2B5EF4-FFF2-40B4-BE49-F238E27FC236}">
                <a16:creationId xmlns:a16="http://schemas.microsoft.com/office/drawing/2014/main" id="{310DB59C-0DC2-42B1-9011-61193358907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31" name="Resim 30"/>
          <p:cNvPicPr>
            <a:picLocks noChangeAspect="1"/>
          </p:cNvPicPr>
          <p:nvPr/>
        </p:nvPicPr>
        <p:blipFill>
          <a:blip r:embed="rId5"/>
          <a:stretch>
            <a:fillRect/>
          </a:stretch>
        </p:blipFill>
        <p:spPr>
          <a:xfrm>
            <a:off x="377932" y="2746411"/>
            <a:ext cx="5814823" cy="2851380"/>
          </a:xfrm>
          <a:prstGeom prst="rect">
            <a:avLst/>
          </a:prstGeom>
        </p:spPr>
      </p:pic>
      <p:pic>
        <p:nvPicPr>
          <p:cNvPr id="32" name="Resim 31"/>
          <p:cNvPicPr>
            <a:picLocks noChangeAspect="1"/>
          </p:cNvPicPr>
          <p:nvPr/>
        </p:nvPicPr>
        <p:blipFill>
          <a:blip r:embed="rId6"/>
          <a:stretch>
            <a:fillRect/>
          </a:stretch>
        </p:blipFill>
        <p:spPr>
          <a:xfrm>
            <a:off x="6283658" y="2746411"/>
            <a:ext cx="5814823" cy="2851380"/>
          </a:xfrm>
          <a:prstGeom prst="rect">
            <a:avLst/>
          </a:prstGeom>
        </p:spPr>
      </p:pic>
      <p:pic>
        <p:nvPicPr>
          <p:cNvPr id="33" name="Resim 32"/>
          <p:cNvPicPr>
            <a:picLocks noChangeAspect="1"/>
          </p:cNvPicPr>
          <p:nvPr/>
        </p:nvPicPr>
        <p:blipFill>
          <a:blip r:embed="rId7"/>
          <a:stretch>
            <a:fillRect/>
          </a:stretch>
        </p:blipFill>
        <p:spPr>
          <a:xfrm>
            <a:off x="1756580" y="2576586"/>
            <a:ext cx="3057525" cy="323850"/>
          </a:xfrm>
          <a:prstGeom prst="rect">
            <a:avLst/>
          </a:prstGeom>
        </p:spPr>
      </p:pic>
      <p:pic>
        <p:nvPicPr>
          <p:cNvPr id="34" name="Resim 33"/>
          <p:cNvPicPr>
            <a:picLocks noChangeAspect="1"/>
          </p:cNvPicPr>
          <p:nvPr/>
        </p:nvPicPr>
        <p:blipFill>
          <a:blip r:embed="rId7"/>
          <a:stretch>
            <a:fillRect/>
          </a:stretch>
        </p:blipFill>
        <p:spPr>
          <a:xfrm>
            <a:off x="7662306" y="2576586"/>
            <a:ext cx="3057525" cy="323850"/>
          </a:xfrm>
          <a:prstGeom prst="rect">
            <a:avLst/>
          </a:prstGeom>
        </p:spPr>
      </p:pic>
      <p:sp>
        <p:nvSpPr>
          <p:cNvPr id="35" name="Metin kutusu 34"/>
          <p:cNvSpPr txBox="1"/>
          <p:nvPr/>
        </p:nvSpPr>
        <p:spPr>
          <a:xfrm>
            <a:off x="2511137" y="2615584"/>
            <a:ext cx="982288" cy="261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tr-TR" sz="1100" dirty="0">
                <a:solidFill>
                  <a:schemeClr val="bg1"/>
                </a:solidFill>
              </a:rPr>
              <a:t>Bakım Öncesi</a:t>
            </a:r>
          </a:p>
        </p:txBody>
      </p:sp>
      <p:sp>
        <p:nvSpPr>
          <p:cNvPr id="36" name="Metin kutusu 35"/>
          <p:cNvSpPr txBox="1"/>
          <p:nvPr/>
        </p:nvSpPr>
        <p:spPr>
          <a:xfrm>
            <a:off x="8507384" y="2615606"/>
            <a:ext cx="982288" cy="2616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tr-TR" sz="1100" dirty="0">
                <a:solidFill>
                  <a:schemeClr val="bg1"/>
                </a:solidFill>
              </a:rPr>
              <a:t>Bakım Sonrası</a:t>
            </a:r>
          </a:p>
        </p:txBody>
      </p:sp>
      <p:sp>
        <p:nvSpPr>
          <p:cNvPr id="37" name="Dikdörtgen 36"/>
          <p:cNvSpPr/>
          <p:nvPr/>
        </p:nvSpPr>
        <p:spPr>
          <a:xfrm>
            <a:off x="512703" y="1782762"/>
            <a:ext cx="2120581" cy="369332"/>
          </a:xfrm>
          <a:prstGeom prst="rect">
            <a:avLst/>
          </a:prstGeom>
        </p:spPr>
        <p:txBody>
          <a:bodyPr wrap="none">
            <a:spAutoFit/>
          </a:bodyPr>
          <a:lstStyle/>
          <a:p>
            <a:r>
              <a:rPr lang="tr-TR" b="1" u="sng" dirty="0" err="1"/>
              <a:t>Dalgaform</a:t>
            </a:r>
            <a:r>
              <a:rPr lang="tr-TR" b="1" u="sng" dirty="0"/>
              <a:t> Grafikleri</a:t>
            </a:r>
          </a:p>
        </p:txBody>
      </p:sp>
      <p:pic>
        <p:nvPicPr>
          <p:cNvPr id="15" name="Grafik 7">
            <a:extLst>
              <a:ext uri="{FF2B5EF4-FFF2-40B4-BE49-F238E27FC236}">
                <a16:creationId xmlns:a16="http://schemas.microsoft.com/office/drawing/2014/main" id="{7E84332A-BA4B-4EB3-B0C7-63D5AAD00C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7" y="6287609"/>
            <a:ext cx="1283363" cy="303016"/>
          </a:xfrm>
          <a:prstGeom prst="rect">
            <a:avLst/>
          </a:prstGeom>
        </p:spPr>
      </p:pic>
      <p:sp>
        <p:nvSpPr>
          <p:cNvPr id="17" name="Başlık 14">
            <a:extLst>
              <a:ext uri="{FF2B5EF4-FFF2-40B4-BE49-F238E27FC236}">
                <a16:creationId xmlns:a16="http://schemas.microsoft.com/office/drawing/2014/main" id="{D6251971-DEA8-4420-8CDC-879E32BD567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latin typeface="+mn-lt"/>
              </a:rPr>
              <a:t>Başarılı Uygulamalar</a:t>
            </a:r>
          </a:p>
        </p:txBody>
      </p:sp>
    </p:spTree>
    <p:extLst>
      <p:ext uri="{BB962C8B-B14F-4D97-AF65-F5344CB8AC3E}">
        <p14:creationId xmlns:p14="http://schemas.microsoft.com/office/powerpoint/2010/main" val="2860516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EFB4AF-29F3-4E82-AFB1-949175BD3EC4}"/>
              </a:ext>
            </a:extLst>
          </p:cNvPr>
          <p:cNvPicPr>
            <a:picLocks noChangeAspect="1"/>
          </p:cNvPicPr>
          <p:nvPr/>
        </p:nvPicPr>
        <p:blipFill>
          <a:blip r:embed="rId3"/>
          <a:stretch>
            <a:fillRect/>
          </a:stretch>
        </p:blipFill>
        <p:spPr>
          <a:xfrm>
            <a:off x="9048951" y="4631132"/>
            <a:ext cx="2831658" cy="543507"/>
          </a:xfrm>
          <a:prstGeom prst="rect">
            <a:avLst/>
          </a:prstGeom>
        </p:spPr>
      </p:pic>
      <p:sp>
        <p:nvSpPr>
          <p:cNvPr id="8" name="Başlık 14">
            <a:extLst>
              <a:ext uri="{FF2B5EF4-FFF2-40B4-BE49-F238E27FC236}">
                <a16:creationId xmlns:a16="http://schemas.microsoft.com/office/drawing/2014/main" id="{AB9030DD-D2A7-4F27-B7A1-52948C0E56B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b="1" dirty="0">
                <a:solidFill>
                  <a:srgbClr val="004A85"/>
                </a:solidFill>
              </a:rPr>
              <a:t>Titreşim Ölçümü</a:t>
            </a:r>
          </a:p>
        </p:txBody>
      </p:sp>
      <p:pic>
        <p:nvPicPr>
          <p:cNvPr id="6" name="Resim 4">
            <a:extLst>
              <a:ext uri="{FF2B5EF4-FFF2-40B4-BE49-F238E27FC236}">
                <a16:creationId xmlns:a16="http://schemas.microsoft.com/office/drawing/2014/main" id="{7D17EAB3-C27C-47B9-825C-4C8985B038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7" name="Resim 5">
            <a:extLst>
              <a:ext uri="{FF2B5EF4-FFF2-40B4-BE49-F238E27FC236}">
                <a16:creationId xmlns:a16="http://schemas.microsoft.com/office/drawing/2014/main" id="{F8BA8454-33C5-47F5-B303-DB2AE07DF89A}"/>
              </a:ext>
            </a:extLst>
          </p:cNvPr>
          <p:cNvPicPr>
            <a:picLocks noChangeAspect="1"/>
          </p:cNvPicPr>
          <p:nvPr/>
        </p:nvPicPr>
        <p:blipFill>
          <a:blip r:embed="rId5"/>
          <a:stretch>
            <a:fillRect/>
          </a:stretch>
        </p:blipFill>
        <p:spPr>
          <a:xfrm>
            <a:off x="10862275" y="197159"/>
            <a:ext cx="1056187" cy="309127"/>
          </a:xfrm>
          <a:prstGeom prst="rect">
            <a:avLst/>
          </a:prstGeom>
        </p:spPr>
      </p:pic>
      <p:pic>
        <p:nvPicPr>
          <p:cNvPr id="12" name="Resim 6">
            <a:extLst>
              <a:ext uri="{FF2B5EF4-FFF2-40B4-BE49-F238E27FC236}">
                <a16:creationId xmlns:a16="http://schemas.microsoft.com/office/drawing/2014/main" id="{E0EA0BFA-6B15-4D7C-9E3B-CB46A13AD08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2" name="TextBox 1">
            <a:extLst>
              <a:ext uri="{FF2B5EF4-FFF2-40B4-BE49-F238E27FC236}">
                <a16:creationId xmlns:a16="http://schemas.microsoft.com/office/drawing/2014/main" id="{0BCD64DA-B029-4BF3-8609-A88E6333663B}"/>
              </a:ext>
            </a:extLst>
          </p:cNvPr>
          <p:cNvSpPr txBox="1"/>
          <p:nvPr/>
        </p:nvSpPr>
        <p:spPr>
          <a:xfrm>
            <a:off x="531843" y="1313942"/>
            <a:ext cx="3638939" cy="369332"/>
          </a:xfrm>
          <a:prstGeom prst="rect">
            <a:avLst/>
          </a:prstGeom>
          <a:noFill/>
        </p:spPr>
        <p:txBody>
          <a:bodyPr wrap="square" rtlCol="0">
            <a:spAutoFit/>
          </a:bodyPr>
          <a:lstStyle/>
          <a:p>
            <a:r>
              <a:rPr lang="tr-TR" u="sng" dirty="0"/>
              <a:t>2) Online Titreşim Ölçümleri</a:t>
            </a:r>
          </a:p>
        </p:txBody>
      </p:sp>
      <p:sp>
        <p:nvSpPr>
          <p:cNvPr id="13" name="TextBox 12">
            <a:extLst>
              <a:ext uri="{FF2B5EF4-FFF2-40B4-BE49-F238E27FC236}">
                <a16:creationId xmlns:a16="http://schemas.microsoft.com/office/drawing/2014/main" id="{41E2AACA-CF93-4C2F-93C3-C956F11CCD96}"/>
              </a:ext>
            </a:extLst>
          </p:cNvPr>
          <p:cNvSpPr txBox="1"/>
          <p:nvPr/>
        </p:nvSpPr>
        <p:spPr>
          <a:xfrm>
            <a:off x="531842" y="1670349"/>
            <a:ext cx="10674221" cy="2308324"/>
          </a:xfrm>
          <a:prstGeom prst="rect">
            <a:avLst/>
          </a:prstGeom>
          <a:noFill/>
        </p:spPr>
        <p:txBody>
          <a:bodyPr wrap="square" rtlCol="0">
            <a:spAutoFit/>
          </a:bodyPr>
          <a:lstStyle/>
          <a:p>
            <a:pPr marL="285750" indent="-285750">
              <a:buFont typeface="Arial" panose="020B0604020202020204" pitchFamily="34" charset="0"/>
              <a:buChar char="•"/>
            </a:pPr>
            <a:r>
              <a:rPr lang="tr-TR" dirty="0"/>
              <a:t>Online sistemler üzerine anlık dataların çekilmesi üzerine kuruludur. </a:t>
            </a:r>
          </a:p>
          <a:p>
            <a:pPr marL="285750" indent="-285750">
              <a:buFont typeface="Arial" panose="020B0604020202020204" pitchFamily="34" charset="0"/>
              <a:buChar char="•"/>
            </a:pPr>
            <a:r>
              <a:rPr lang="tr-TR" dirty="0"/>
              <a:t>Online trend izleme sistemleri ile bu datalar okunarak trend takibi yapılabilmektedir. </a:t>
            </a:r>
          </a:p>
          <a:p>
            <a:pPr marL="285750" indent="-285750">
              <a:buFont typeface="Arial" panose="020B0604020202020204" pitchFamily="34" charset="0"/>
              <a:buChar char="•"/>
            </a:pPr>
            <a:r>
              <a:rPr lang="tr-TR" dirty="0"/>
              <a:t>Bu sistemlerin panoları üzerinden </a:t>
            </a:r>
            <a:r>
              <a:rPr lang="tr-TR" dirty="0" err="1"/>
              <a:t>portable</a:t>
            </a:r>
            <a:r>
              <a:rPr lang="tr-TR" dirty="0"/>
              <a:t> cihaz ile veri toplanarak verilerin spektrum analizi yapılabilmektedir. Bu nedenle tur ölçümlerinde bu verilerin toplanabildiği ekipmanlardan da online izleme yanında data toplaması yapılarak </a:t>
            </a:r>
            <a:r>
              <a:rPr lang="tr-TR" dirty="0" err="1"/>
              <a:t>database</a:t>
            </a:r>
            <a:r>
              <a:rPr lang="tr-TR" dirty="0"/>
              <a:t> atılır. Saha ölçümleri ve online sistemlerin birlikte takibi bu iki sistemin paralel çalıştığının teyidi ve kontrolü için gereklidir. Bu nedenle belirli periyodlarla online sistem bulunan ekipmanlarda saha ölçümü de alınır.  </a:t>
            </a:r>
          </a:p>
          <a:p>
            <a:pPr marL="285750" indent="-285750">
              <a:buFont typeface="Arial" panose="020B0604020202020204" pitchFamily="34" charset="0"/>
              <a:buChar char="•"/>
            </a:pPr>
            <a:endParaRPr lang="tr-TR" dirty="0"/>
          </a:p>
        </p:txBody>
      </p:sp>
      <p:grpSp>
        <p:nvGrpSpPr>
          <p:cNvPr id="22" name="Group 21">
            <a:extLst>
              <a:ext uri="{FF2B5EF4-FFF2-40B4-BE49-F238E27FC236}">
                <a16:creationId xmlns:a16="http://schemas.microsoft.com/office/drawing/2014/main" id="{E9E60EE8-7AFA-4ED8-A0B5-A13553150579}"/>
              </a:ext>
            </a:extLst>
          </p:cNvPr>
          <p:cNvGrpSpPr/>
          <p:nvPr/>
        </p:nvGrpSpPr>
        <p:grpSpPr>
          <a:xfrm>
            <a:off x="1279551" y="3493797"/>
            <a:ext cx="10408390" cy="3198706"/>
            <a:chOff x="1125325" y="3021574"/>
            <a:chExt cx="11504659" cy="3620023"/>
          </a:xfrm>
        </p:grpSpPr>
        <p:pic>
          <p:nvPicPr>
            <p:cNvPr id="3" name="Picture 2">
              <a:extLst>
                <a:ext uri="{FF2B5EF4-FFF2-40B4-BE49-F238E27FC236}">
                  <a16:creationId xmlns:a16="http://schemas.microsoft.com/office/drawing/2014/main" id="{08A98427-E7D4-4362-9645-664755CF287F}"/>
                </a:ext>
              </a:extLst>
            </p:cNvPr>
            <p:cNvPicPr>
              <a:picLocks noChangeAspect="1"/>
            </p:cNvPicPr>
            <p:nvPr/>
          </p:nvPicPr>
          <p:blipFill>
            <a:blip r:embed="rId7"/>
            <a:stretch>
              <a:fillRect/>
            </a:stretch>
          </p:blipFill>
          <p:spPr>
            <a:xfrm>
              <a:off x="1125325" y="3607579"/>
              <a:ext cx="4174464" cy="3034018"/>
            </a:xfrm>
            <a:prstGeom prst="rect">
              <a:avLst/>
            </a:prstGeom>
          </p:spPr>
        </p:pic>
        <p:cxnSp>
          <p:nvCxnSpPr>
            <p:cNvPr id="5" name="Straight Arrow Connector 4">
              <a:extLst>
                <a:ext uri="{FF2B5EF4-FFF2-40B4-BE49-F238E27FC236}">
                  <a16:creationId xmlns:a16="http://schemas.microsoft.com/office/drawing/2014/main" id="{4B38BBE5-BF87-4B63-9263-0D9B73A7813A}"/>
                </a:ext>
              </a:extLst>
            </p:cNvPr>
            <p:cNvCxnSpPr>
              <a:cxnSpLocks/>
            </p:cNvCxnSpPr>
            <p:nvPr/>
          </p:nvCxnSpPr>
          <p:spPr>
            <a:xfrm flipV="1">
              <a:off x="2911151" y="3237218"/>
              <a:ext cx="0" cy="37036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560CFCF-6AA4-4D03-BAC9-FBC5A883D2E6}"/>
                </a:ext>
              </a:extLst>
            </p:cNvPr>
            <p:cNvCxnSpPr>
              <a:cxnSpLocks/>
            </p:cNvCxnSpPr>
            <p:nvPr/>
          </p:nvCxnSpPr>
          <p:spPr>
            <a:xfrm>
              <a:off x="2911151" y="3237218"/>
              <a:ext cx="335902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2AF65B-A8A0-46DF-B5C6-C29FB13A7C80}"/>
                </a:ext>
              </a:extLst>
            </p:cNvPr>
            <p:cNvSpPr txBox="1"/>
            <p:nvPr/>
          </p:nvSpPr>
          <p:spPr>
            <a:xfrm>
              <a:off x="6360789" y="3021574"/>
              <a:ext cx="3442967" cy="417978"/>
            </a:xfrm>
            <a:prstGeom prst="rect">
              <a:avLst/>
            </a:prstGeom>
            <a:noFill/>
          </p:spPr>
          <p:txBody>
            <a:bodyPr wrap="square" rtlCol="0">
              <a:spAutoFit/>
            </a:bodyPr>
            <a:lstStyle/>
            <a:p>
              <a:r>
                <a:rPr lang="tr-TR" b="1" dirty="0">
                  <a:solidFill>
                    <a:srgbClr val="0070C0"/>
                  </a:solidFill>
                </a:rPr>
                <a:t>Trend </a:t>
              </a:r>
              <a:r>
                <a:rPr lang="tr-TR" b="1" dirty="0" err="1">
                  <a:solidFill>
                    <a:srgbClr val="0070C0"/>
                  </a:solidFill>
                </a:rPr>
                <a:t>Monitoring</a:t>
              </a:r>
              <a:r>
                <a:rPr lang="tr-TR" b="1" dirty="0">
                  <a:solidFill>
                    <a:srgbClr val="0070C0"/>
                  </a:solidFill>
                </a:rPr>
                <a:t> Software</a:t>
              </a:r>
            </a:p>
          </p:txBody>
        </p:sp>
        <p:cxnSp>
          <p:nvCxnSpPr>
            <p:cNvPr id="21" name="Connector: Elbow 20">
              <a:extLst>
                <a:ext uri="{FF2B5EF4-FFF2-40B4-BE49-F238E27FC236}">
                  <a16:creationId xmlns:a16="http://schemas.microsoft.com/office/drawing/2014/main" id="{AE802641-FE01-4D54-917D-B9708A5737DE}"/>
                </a:ext>
              </a:extLst>
            </p:cNvPr>
            <p:cNvCxnSpPr>
              <a:cxnSpLocks/>
            </p:cNvCxnSpPr>
            <p:nvPr/>
          </p:nvCxnSpPr>
          <p:spPr>
            <a:xfrm rot="5400000">
              <a:off x="6626068" y="3781446"/>
              <a:ext cx="574617" cy="354441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38262E7-1FAA-4C86-B787-A0D5847387D8}"/>
                </a:ext>
              </a:extLst>
            </p:cNvPr>
            <p:cNvCxnSpPr>
              <a:cxnSpLocks/>
            </p:cNvCxnSpPr>
            <p:nvPr/>
          </p:nvCxnSpPr>
          <p:spPr>
            <a:xfrm>
              <a:off x="4598776" y="4755985"/>
              <a:ext cx="335902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BC0FB9E-4AF9-4AF0-A0B4-2FD907239375}"/>
                </a:ext>
              </a:extLst>
            </p:cNvPr>
            <p:cNvSpPr txBox="1"/>
            <p:nvPr/>
          </p:nvSpPr>
          <p:spPr>
            <a:xfrm>
              <a:off x="7617483" y="3849266"/>
              <a:ext cx="2043396" cy="417978"/>
            </a:xfrm>
            <a:prstGeom prst="rect">
              <a:avLst/>
            </a:prstGeom>
            <a:noFill/>
          </p:spPr>
          <p:txBody>
            <a:bodyPr wrap="square" rtlCol="0">
              <a:spAutoFit/>
            </a:bodyPr>
            <a:lstStyle/>
            <a:p>
              <a:r>
                <a:rPr lang="tr-TR" b="1" dirty="0" err="1">
                  <a:solidFill>
                    <a:srgbClr val="0070C0"/>
                  </a:solidFill>
                </a:rPr>
                <a:t>Portable</a:t>
              </a:r>
              <a:r>
                <a:rPr lang="tr-TR" b="1" dirty="0">
                  <a:solidFill>
                    <a:srgbClr val="0070C0"/>
                  </a:solidFill>
                </a:rPr>
                <a:t> Cihaz</a:t>
              </a:r>
            </a:p>
          </p:txBody>
        </p:sp>
        <p:cxnSp>
          <p:nvCxnSpPr>
            <p:cNvPr id="24" name="Straight Arrow Connector 23">
              <a:extLst>
                <a:ext uri="{FF2B5EF4-FFF2-40B4-BE49-F238E27FC236}">
                  <a16:creationId xmlns:a16="http://schemas.microsoft.com/office/drawing/2014/main" id="{86AE72E9-8FFB-4FB8-AE11-446022B9596B}"/>
                </a:ext>
              </a:extLst>
            </p:cNvPr>
            <p:cNvCxnSpPr>
              <a:cxnSpLocks/>
            </p:cNvCxnSpPr>
            <p:nvPr/>
          </p:nvCxnSpPr>
          <p:spPr>
            <a:xfrm>
              <a:off x="9027093" y="4663411"/>
              <a:ext cx="63378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428AD13C-EBF1-4336-B2AC-F54DC4DD21DE}"/>
                </a:ext>
              </a:extLst>
            </p:cNvPr>
            <p:cNvSpPr txBox="1"/>
            <p:nvPr/>
          </p:nvSpPr>
          <p:spPr>
            <a:xfrm>
              <a:off x="9660881" y="3888508"/>
              <a:ext cx="2969103" cy="417978"/>
            </a:xfrm>
            <a:prstGeom prst="rect">
              <a:avLst/>
            </a:prstGeom>
            <a:noFill/>
          </p:spPr>
          <p:txBody>
            <a:bodyPr wrap="square" rtlCol="0">
              <a:spAutoFit/>
            </a:bodyPr>
            <a:lstStyle/>
            <a:p>
              <a:r>
                <a:rPr lang="tr-TR" b="1" dirty="0">
                  <a:solidFill>
                    <a:srgbClr val="0070C0"/>
                  </a:solidFill>
                </a:rPr>
                <a:t>Offline software </a:t>
              </a:r>
              <a:r>
                <a:rPr lang="tr-TR" b="1" dirty="0" err="1">
                  <a:solidFill>
                    <a:srgbClr val="0070C0"/>
                  </a:solidFill>
                </a:rPr>
                <a:t>and</a:t>
              </a:r>
              <a:r>
                <a:rPr lang="tr-TR" b="1" dirty="0">
                  <a:solidFill>
                    <a:srgbClr val="0070C0"/>
                  </a:solidFill>
                </a:rPr>
                <a:t> FFT</a:t>
              </a:r>
            </a:p>
          </p:txBody>
        </p:sp>
      </p:grpSp>
      <p:pic>
        <p:nvPicPr>
          <p:cNvPr id="16" name="Picture 15">
            <a:extLst>
              <a:ext uri="{FF2B5EF4-FFF2-40B4-BE49-F238E27FC236}">
                <a16:creationId xmlns:a16="http://schemas.microsoft.com/office/drawing/2014/main" id="{9D780D76-9E41-458D-B8C4-8F392A07CC94}"/>
              </a:ext>
            </a:extLst>
          </p:cNvPr>
          <p:cNvPicPr>
            <a:picLocks noChangeAspect="1"/>
          </p:cNvPicPr>
          <p:nvPr/>
        </p:nvPicPr>
        <p:blipFill>
          <a:blip r:embed="rId8"/>
          <a:stretch>
            <a:fillRect/>
          </a:stretch>
        </p:blipFill>
        <p:spPr>
          <a:xfrm>
            <a:off x="7578010" y="4576512"/>
            <a:ext cx="850356" cy="775539"/>
          </a:xfrm>
          <a:prstGeom prst="rect">
            <a:avLst/>
          </a:prstGeom>
        </p:spPr>
      </p:pic>
      <p:pic>
        <p:nvPicPr>
          <p:cNvPr id="27" name="Grafik 7">
            <a:extLst>
              <a:ext uri="{FF2B5EF4-FFF2-40B4-BE49-F238E27FC236}">
                <a16:creationId xmlns:a16="http://schemas.microsoft.com/office/drawing/2014/main" id="{A72CF615-E278-48A7-8A4A-D193B71E9C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3279224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aşlık 14">
            <a:extLst>
              <a:ext uri="{FF2B5EF4-FFF2-40B4-BE49-F238E27FC236}">
                <a16:creationId xmlns:a16="http://schemas.microsoft.com/office/drawing/2014/main" id="{AB9030DD-D2A7-4F27-B7A1-52948C0E56B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tr-TR" sz="5400" dirty="0">
                <a:solidFill>
                  <a:schemeClr val="accent1">
                    <a:lumMod val="75000"/>
                  </a:schemeClr>
                </a:solidFill>
              </a:rPr>
              <a:t>Akıllı Araçlar ve  Analiz Sistemleri</a:t>
            </a:r>
          </a:p>
        </p:txBody>
      </p:sp>
      <p:pic>
        <p:nvPicPr>
          <p:cNvPr id="6" name="Resim 4">
            <a:extLst>
              <a:ext uri="{FF2B5EF4-FFF2-40B4-BE49-F238E27FC236}">
                <a16:creationId xmlns:a16="http://schemas.microsoft.com/office/drawing/2014/main" id="{7D17EAB3-C27C-47B9-825C-4C8985B038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7" name="Resim 5">
            <a:extLst>
              <a:ext uri="{FF2B5EF4-FFF2-40B4-BE49-F238E27FC236}">
                <a16:creationId xmlns:a16="http://schemas.microsoft.com/office/drawing/2014/main" id="{F8BA8454-33C5-47F5-B303-DB2AE07DF89A}"/>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12" name="Resim 6">
            <a:extLst>
              <a:ext uri="{FF2B5EF4-FFF2-40B4-BE49-F238E27FC236}">
                <a16:creationId xmlns:a16="http://schemas.microsoft.com/office/drawing/2014/main" id="{E0EA0BFA-6B15-4D7C-9E3B-CB46A13AD08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2" name="TextBox 1">
            <a:extLst>
              <a:ext uri="{FF2B5EF4-FFF2-40B4-BE49-F238E27FC236}">
                <a16:creationId xmlns:a16="http://schemas.microsoft.com/office/drawing/2014/main" id="{0BCD64DA-B029-4BF3-8609-A88E6333663B}"/>
              </a:ext>
            </a:extLst>
          </p:cNvPr>
          <p:cNvSpPr txBox="1"/>
          <p:nvPr/>
        </p:nvSpPr>
        <p:spPr>
          <a:xfrm>
            <a:off x="531843" y="1211163"/>
            <a:ext cx="3638939" cy="369332"/>
          </a:xfrm>
          <a:prstGeom prst="rect">
            <a:avLst/>
          </a:prstGeom>
          <a:noFill/>
        </p:spPr>
        <p:txBody>
          <a:bodyPr wrap="square" rtlCol="0">
            <a:spAutoFit/>
          </a:bodyPr>
          <a:lstStyle/>
          <a:p>
            <a:r>
              <a:rPr lang="tr-TR" u="sng" dirty="0"/>
              <a:t>1) </a:t>
            </a:r>
            <a:r>
              <a:rPr lang="tr-TR" u="sng" dirty="0" err="1"/>
              <a:t>Predictive</a:t>
            </a:r>
            <a:r>
              <a:rPr lang="tr-TR" u="sng" dirty="0"/>
              <a:t> Digital Solution</a:t>
            </a:r>
          </a:p>
        </p:txBody>
      </p:sp>
      <p:sp>
        <p:nvSpPr>
          <p:cNvPr id="3" name="TextBox 2">
            <a:extLst>
              <a:ext uri="{FF2B5EF4-FFF2-40B4-BE49-F238E27FC236}">
                <a16:creationId xmlns:a16="http://schemas.microsoft.com/office/drawing/2014/main" id="{66D05B8D-617E-4122-B598-BC2F3FB135E0}"/>
              </a:ext>
            </a:extLst>
          </p:cNvPr>
          <p:cNvSpPr txBox="1"/>
          <p:nvPr/>
        </p:nvSpPr>
        <p:spPr>
          <a:xfrm>
            <a:off x="486633" y="1564778"/>
            <a:ext cx="10375642" cy="2031325"/>
          </a:xfrm>
          <a:prstGeom prst="rect">
            <a:avLst/>
          </a:prstGeom>
          <a:noFill/>
        </p:spPr>
        <p:txBody>
          <a:bodyPr wrap="square" rtlCol="0">
            <a:spAutoFit/>
          </a:bodyPr>
          <a:lstStyle/>
          <a:p>
            <a:pPr marL="285750" indent="-285750">
              <a:buFont typeface="Arial" panose="020B0604020202020204" pitchFamily="34" charset="0"/>
              <a:buChar char="•"/>
            </a:pPr>
            <a:r>
              <a:rPr lang="tr-TR" dirty="0" err="1"/>
              <a:t>Similarity</a:t>
            </a:r>
            <a:r>
              <a:rPr lang="tr-TR" dirty="0"/>
              <a:t> </a:t>
            </a:r>
            <a:r>
              <a:rPr lang="tr-TR" dirty="0" err="1"/>
              <a:t>Based</a:t>
            </a:r>
            <a:r>
              <a:rPr lang="tr-TR" dirty="0"/>
              <a:t> </a:t>
            </a:r>
            <a:r>
              <a:rPr lang="tr-TR" dirty="0" err="1"/>
              <a:t>Modeling</a:t>
            </a:r>
            <a:r>
              <a:rPr lang="tr-TR" dirty="0"/>
              <a:t> (SBM) temel alan bir sistem kullanılmaktadır.</a:t>
            </a:r>
          </a:p>
          <a:p>
            <a:pPr marL="285750" indent="-285750">
              <a:buFont typeface="Arial" panose="020B0604020202020204" pitchFamily="34" charset="0"/>
              <a:buChar char="•"/>
            </a:pPr>
            <a:r>
              <a:rPr lang="tr-TR" dirty="0"/>
              <a:t>İşletmenin sahip olduğu ekipmanlar ve bu ekipmanların sahip olduğu mevcut veriler üzerinden (eğer yeterliyse) modeller kurulur. </a:t>
            </a:r>
          </a:p>
          <a:p>
            <a:pPr marL="285750" indent="-285750">
              <a:buFont typeface="Arial" panose="020B0604020202020204" pitchFamily="34" charset="0"/>
              <a:buChar char="•"/>
            </a:pPr>
            <a:r>
              <a:rPr lang="tr-TR" dirty="0"/>
              <a:t>Bu modellemeler üzerinden </a:t>
            </a:r>
            <a:r>
              <a:rPr lang="tr-TR" dirty="0" err="1"/>
              <a:t>dynamic</a:t>
            </a:r>
            <a:r>
              <a:rPr lang="tr-TR" dirty="0"/>
              <a:t> </a:t>
            </a:r>
            <a:r>
              <a:rPr lang="tr-TR" dirty="0" err="1"/>
              <a:t>band</a:t>
            </a:r>
            <a:r>
              <a:rPr lang="tr-TR" dirty="0"/>
              <a:t> içerisinde tespit edilen </a:t>
            </a:r>
            <a:r>
              <a:rPr lang="tr-TR" dirty="0" err="1"/>
              <a:t>anomoliler</a:t>
            </a:r>
            <a:r>
              <a:rPr lang="tr-TR" dirty="0"/>
              <a:t> bildirilir ve bu bildirimler üzerinden olay araştırması yapılır. </a:t>
            </a:r>
          </a:p>
          <a:p>
            <a:pPr marL="285750" indent="-285750">
              <a:buFont typeface="Arial" panose="020B0604020202020204" pitchFamily="34" charset="0"/>
              <a:buChar char="•"/>
            </a:pPr>
            <a:endParaRPr lang="tr-TR" dirty="0"/>
          </a:p>
          <a:p>
            <a:r>
              <a:rPr lang="tr-TR" dirty="0"/>
              <a:t>	 </a:t>
            </a:r>
          </a:p>
        </p:txBody>
      </p:sp>
      <p:pic>
        <p:nvPicPr>
          <p:cNvPr id="14" name="Picture 13">
            <a:extLst>
              <a:ext uri="{FF2B5EF4-FFF2-40B4-BE49-F238E27FC236}">
                <a16:creationId xmlns:a16="http://schemas.microsoft.com/office/drawing/2014/main" id="{10B6F248-0DE9-4B5D-B2F7-B87E901F3C49}"/>
              </a:ext>
            </a:extLst>
          </p:cNvPr>
          <p:cNvPicPr>
            <a:picLocks noChangeAspect="1"/>
          </p:cNvPicPr>
          <p:nvPr/>
        </p:nvPicPr>
        <p:blipFill rotWithShape="1">
          <a:blip r:embed="rId6"/>
          <a:srcRect r="5125" b="3373"/>
          <a:stretch/>
        </p:blipFill>
        <p:spPr>
          <a:xfrm>
            <a:off x="581695" y="3319090"/>
            <a:ext cx="7548335" cy="3134703"/>
          </a:xfrm>
          <a:prstGeom prst="rect">
            <a:avLst/>
          </a:prstGeom>
        </p:spPr>
      </p:pic>
      <p:pic>
        <p:nvPicPr>
          <p:cNvPr id="15" name="Picture 14">
            <a:extLst>
              <a:ext uri="{FF2B5EF4-FFF2-40B4-BE49-F238E27FC236}">
                <a16:creationId xmlns:a16="http://schemas.microsoft.com/office/drawing/2014/main" id="{DE04C562-18C7-4609-A15A-335186C79CE7}"/>
              </a:ext>
            </a:extLst>
          </p:cNvPr>
          <p:cNvPicPr>
            <a:picLocks noChangeAspect="1"/>
          </p:cNvPicPr>
          <p:nvPr/>
        </p:nvPicPr>
        <p:blipFill>
          <a:blip r:embed="rId7"/>
          <a:stretch>
            <a:fillRect/>
          </a:stretch>
        </p:blipFill>
        <p:spPr>
          <a:xfrm>
            <a:off x="8373347" y="3149041"/>
            <a:ext cx="3452425" cy="1823009"/>
          </a:xfrm>
          <a:prstGeom prst="rect">
            <a:avLst/>
          </a:prstGeom>
        </p:spPr>
      </p:pic>
      <p:pic>
        <p:nvPicPr>
          <p:cNvPr id="10" name="Grafik 7">
            <a:extLst>
              <a:ext uri="{FF2B5EF4-FFF2-40B4-BE49-F238E27FC236}">
                <a16:creationId xmlns:a16="http://schemas.microsoft.com/office/drawing/2014/main" id="{7083CDDD-A4F6-4120-8D6C-2CDCB5A24CF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2443565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9" name="think-cell Slide" r:id="rId6" imgW="471" imgH="472" progId="TCLayout.ActiveDocument.1">
                  <p:embed/>
                </p:oleObj>
              </mc:Choice>
              <mc:Fallback>
                <p:oleObj name="think-cell Slide" r:id="rId6" imgW="471" imgH="472"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p:cNvSpPr>
            <a:spLocks noGrp="1" noChangeArrowheads="1"/>
          </p:cNvSpPr>
          <p:nvPr>
            <p:ph type="title"/>
            <p:custDataLst>
              <p:tags r:id="rId3"/>
            </p:custDataLst>
          </p:nvPr>
        </p:nvSpPr>
        <p:spPr bwMode="gray">
          <a:xfrm>
            <a:off x="521534" y="1297856"/>
            <a:ext cx="10348309" cy="387798"/>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p>
            <a:r>
              <a:rPr lang="tr-TR" altLang="en-US" sz="2800" b="1" dirty="0">
                <a:latin typeface="Arial" panose="020B0604020202020204" pitchFamily="34" charset="0"/>
                <a:cs typeface="Arial" panose="020B0604020202020204" pitchFamily="34" charset="0"/>
              </a:rPr>
              <a:t>Örnek Vaka Analizi</a:t>
            </a:r>
            <a:endParaRPr lang="en-US" altLang="en-US" sz="2800" b="1" dirty="0">
              <a:latin typeface="Arial" panose="020B0604020202020204" pitchFamily="34" charset="0"/>
              <a:cs typeface="Arial" panose="020B0604020202020204" pitchFamily="34" charset="0"/>
            </a:endParaRPr>
          </a:p>
        </p:txBody>
      </p:sp>
      <p:sp>
        <p:nvSpPr>
          <p:cNvPr id="3" name="Rectangle 2"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Subtitle 2">
            <a:extLst>
              <a:ext uri="{FF2B5EF4-FFF2-40B4-BE49-F238E27FC236}">
                <a16:creationId xmlns:a16="http://schemas.microsoft.com/office/drawing/2014/main" id="{8A75A679-2362-4CBA-9909-0F0966BBF2C4}"/>
              </a:ext>
            </a:extLst>
          </p:cNvPr>
          <p:cNvSpPr txBox="1">
            <a:spLocks/>
          </p:cNvSpPr>
          <p:nvPr/>
        </p:nvSpPr>
        <p:spPr>
          <a:xfrm>
            <a:off x="521534" y="1676849"/>
            <a:ext cx="5370347" cy="5692777"/>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r>
              <a:rPr lang="tr-TR" sz="1200" b="1" u="sng" dirty="0">
                <a:solidFill>
                  <a:srgbClr val="0070C0"/>
                </a:solidFill>
                <a:latin typeface="Arial" panose="020B0604020202020204" pitchFamily="34" charset="0"/>
                <a:ea typeface="Open Sans Light" panose="020B0306030504020204" pitchFamily="34" charset="0"/>
                <a:cs typeface="Arial" panose="020B0604020202020204" pitchFamily="34" charset="0"/>
              </a:rPr>
              <a:t>Vaka:</a:t>
            </a:r>
          </a:p>
          <a:p>
            <a:pPr algn="l" defTabSz="543818">
              <a:lnSpc>
                <a:spcPts val="1750"/>
              </a:lnSpc>
            </a:pP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Discharge</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Valfinde Sıcaklık Artması</a:t>
            </a:r>
            <a:endParaRPr lang="tr-TR" sz="1200" b="1" u="sng"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algn="l" defTabSz="543818">
              <a:lnSpc>
                <a:spcPts val="1750"/>
              </a:lnSpc>
            </a:pPr>
            <a:r>
              <a:rPr lang="tr-TR" sz="1200" b="1" u="sng" dirty="0">
                <a:solidFill>
                  <a:srgbClr val="0070C0"/>
                </a:solidFill>
                <a:latin typeface="Arial" panose="020B0604020202020204" pitchFamily="34" charset="0"/>
                <a:ea typeface="Open Sans Light" panose="020B0306030504020204" pitchFamily="34" charset="0"/>
                <a:cs typeface="Arial" panose="020B0604020202020204" pitchFamily="34" charset="0"/>
              </a:rPr>
              <a:t>Özet: </a:t>
            </a:r>
          </a:p>
          <a:p>
            <a:pPr algn="l" defTabSz="543818">
              <a:lnSpc>
                <a:spcPts val="1750"/>
              </a:lnSpc>
            </a:pP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Politropic</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efficiency</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tr-TR" sz="1200" dirty="0">
                <a:solidFill>
                  <a:schemeClr val="tx1"/>
                </a:solidFill>
                <a:latin typeface="+mn-lt"/>
                <a:ea typeface="Open Sans Light" panose="020B0306030504020204" pitchFamily="34" charset="0"/>
                <a:cs typeface="Arial" panose="020B0604020202020204" pitchFamily="34" charset="0"/>
              </a:rPr>
              <a:t>değeri</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değiştiği için uyarı veriyor. İncelemelerde 2. Kademe B silindiri çıkış sıcaklığının artışa geçtiği görülüyor. Kompresör bakıma alındığında, emiş valfinde çatlak tespit ediliyor ve değiştiriliyor. Sistemin ilerideki sorunları tespit etme noktasında değer yarattığı bir </a:t>
            </a: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case</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oluyor ve bakım ekiplerinin hatalı parçalara odaklanmasına yardımcı oluyor.</a:t>
            </a:r>
          </a:p>
          <a:p>
            <a:pPr algn="l" defTabSz="543818">
              <a:lnSpc>
                <a:spcPts val="1750"/>
              </a:lnSpc>
            </a:pPr>
            <a:endParaRPr lang="tr-TR" sz="1200" b="1" u="sng"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algn="l" defTabSz="543818">
              <a:lnSpc>
                <a:spcPts val="1750"/>
              </a:lnSpc>
            </a:pPr>
            <a:r>
              <a:rPr lang="tr-TR" sz="1200" b="1" u="sng" dirty="0">
                <a:solidFill>
                  <a:srgbClr val="0070C0"/>
                </a:solidFill>
                <a:latin typeface="Arial" panose="020B0604020202020204" pitchFamily="34" charset="0"/>
                <a:ea typeface="Open Sans Light" panose="020B0306030504020204" pitchFamily="34" charset="0"/>
                <a:cs typeface="Arial" panose="020B0604020202020204" pitchFamily="34" charset="0"/>
              </a:rPr>
              <a:t>FMEA Çalışması</a:t>
            </a:r>
            <a:endParaRPr lang="tr-TR" sz="1200" b="1" u="sng"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marL="171450" indent="-171450" algn="l" defTabSz="543818">
              <a:lnSpc>
                <a:spcPts val="1750"/>
              </a:lnSpc>
              <a:buFont typeface="Arial" panose="020B0604020202020204" pitchFamily="34" charset="0"/>
              <a:buChar char="•"/>
            </a:pPr>
            <a:r>
              <a:rPr lang="tr-TR" sz="1200" b="1" u="sng" dirty="0">
                <a:solidFill>
                  <a:srgbClr val="0070C0"/>
                </a:solidFill>
                <a:latin typeface="Arial" panose="020B0604020202020204" pitchFamily="34" charset="0"/>
                <a:ea typeface="Open Sans Light" panose="020B0306030504020204" pitchFamily="34" charset="0"/>
                <a:cs typeface="Arial" panose="020B0604020202020204" pitchFamily="34" charset="0"/>
              </a:rPr>
              <a:t>Etki: </a:t>
            </a:r>
          </a:p>
          <a:p>
            <a:pPr algn="l" defTabSz="543818">
              <a:lnSpc>
                <a:spcPts val="1750"/>
              </a:lnSpc>
            </a:pP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Discharge</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Valfi arızası</a:t>
            </a:r>
          </a:p>
          <a:p>
            <a:pPr algn="l" defTabSz="543818">
              <a:lnSpc>
                <a:spcPts val="1750"/>
              </a:lnSpc>
            </a:pP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Kompresör giriş sıcaklığının artması(</a:t>
            </a: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Non</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dominant), ekipman yedeksiz çalışır</a:t>
            </a:r>
          </a:p>
          <a:p>
            <a:pPr marL="171450" indent="-171450" algn="l" defTabSz="543818">
              <a:lnSpc>
                <a:spcPts val="1750"/>
              </a:lnSpc>
              <a:buFont typeface="Arial" panose="020B0604020202020204" pitchFamily="34" charset="0"/>
              <a:buChar char="•"/>
            </a:pPr>
            <a:r>
              <a:rPr lang="tr-TR" sz="1200" b="1" u="sng" dirty="0">
                <a:solidFill>
                  <a:srgbClr val="0070C0"/>
                </a:solidFill>
                <a:latin typeface="Arial" panose="020B0604020202020204" pitchFamily="34" charset="0"/>
                <a:ea typeface="Open Sans Light" panose="020B0306030504020204" pitchFamily="34" charset="0"/>
                <a:cs typeface="Arial" panose="020B0604020202020204" pitchFamily="34" charset="0"/>
              </a:rPr>
              <a:t>Risk:</a:t>
            </a:r>
          </a:p>
          <a:p>
            <a:pPr algn="l" defTabSz="543818">
              <a:lnSpc>
                <a:spcPts val="1750"/>
              </a:lnSpc>
            </a:pP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5 yılda bir gerçekleşebilir, bakım maliyeti oluşur.</a:t>
            </a:r>
          </a:p>
          <a:p>
            <a:pPr marL="171450" indent="-171450" algn="l" defTabSz="543818">
              <a:lnSpc>
                <a:spcPts val="1750"/>
              </a:lnSpc>
              <a:buFont typeface="Arial" panose="020B0604020202020204" pitchFamily="34" charset="0"/>
              <a:buChar char="•"/>
            </a:pPr>
            <a:r>
              <a:rPr lang="tr-TR" sz="1200" b="1" u="sng" dirty="0">
                <a:solidFill>
                  <a:srgbClr val="0070C0"/>
                </a:solidFill>
                <a:latin typeface="Arial" panose="020B0604020202020204" pitchFamily="34" charset="0"/>
                <a:ea typeface="Open Sans Light" panose="020B0306030504020204" pitchFamily="34" charset="0"/>
                <a:cs typeface="Arial" panose="020B0604020202020204" pitchFamily="34" charset="0"/>
              </a:rPr>
              <a:t>Faydası :</a:t>
            </a:r>
          </a:p>
          <a:p>
            <a:pPr algn="l" defTabSz="543818">
              <a:lnSpc>
                <a:spcPts val="1750"/>
              </a:lnSpc>
            </a:pP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Olasılık 10 yılda </a:t>
            </a:r>
            <a:r>
              <a:rPr lang="tr-TR" sz="1200" dirty="0" err="1">
                <a:solidFill>
                  <a:schemeClr val="tx1"/>
                </a:solidFill>
                <a:latin typeface="Arial" panose="020B0604020202020204" pitchFamily="34" charset="0"/>
                <a:ea typeface="Open Sans Light" panose="020B0306030504020204" pitchFamily="34" charset="0"/>
                <a:cs typeface="Arial" panose="020B0604020202020204" pitchFamily="34" charset="0"/>
              </a:rPr>
              <a:t>bir’e</a:t>
            </a:r>
            <a:r>
              <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düşebilir, senelik bakım maliyetinde potansiyel fayda getirir</a:t>
            </a:r>
          </a:p>
          <a:p>
            <a:pPr algn="l" defTabSz="543818">
              <a:lnSpc>
                <a:spcPts val="1750"/>
              </a:lnSpc>
            </a:pPr>
            <a:endPar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algn="l" defTabSz="543818">
              <a:lnSpc>
                <a:spcPts val="1750"/>
              </a:lnSpc>
            </a:pPr>
            <a:endPar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algn="l" defTabSz="543818">
              <a:lnSpc>
                <a:spcPts val="1750"/>
              </a:lnSpc>
            </a:pPr>
            <a:endParaRPr lang="tr-TR" sz="12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algn="l" defTabSz="543818">
              <a:lnSpc>
                <a:spcPts val="1750"/>
              </a:lnSpc>
            </a:pPr>
            <a:endParaRPr lang="en-US" sz="12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p:txBody>
      </p:sp>
      <p:pic>
        <p:nvPicPr>
          <p:cNvPr id="8" name="Resim 4">
            <a:extLst>
              <a:ext uri="{FF2B5EF4-FFF2-40B4-BE49-F238E27FC236}">
                <a16:creationId xmlns:a16="http://schemas.microsoft.com/office/drawing/2014/main" id="{2DDCDA29-ECFF-497B-820E-66461E18359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9" name="Resim 5">
            <a:extLst>
              <a:ext uri="{FF2B5EF4-FFF2-40B4-BE49-F238E27FC236}">
                <a16:creationId xmlns:a16="http://schemas.microsoft.com/office/drawing/2014/main" id="{601DCCCB-D07E-4CA2-AFCA-D423CD6CDEB7}"/>
              </a:ext>
            </a:extLst>
          </p:cNvPr>
          <p:cNvPicPr>
            <a:picLocks noChangeAspect="1"/>
          </p:cNvPicPr>
          <p:nvPr/>
        </p:nvPicPr>
        <p:blipFill>
          <a:blip r:embed="rId9"/>
          <a:stretch>
            <a:fillRect/>
          </a:stretch>
        </p:blipFill>
        <p:spPr>
          <a:xfrm>
            <a:off x="10862275" y="197159"/>
            <a:ext cx="1056187" cy="309127"/>
          </a:xfrm>
          <a:prstGeom prst="rect">
            <a:avLst/>
          </a:prstGeom>
        </p:spPr>
      </p:pic>
      <p:pic>
        <p:nvPicPr>
          <p:cNvPr id="10" name="Resim 6">
            <a:extLst>
              <a:ext uri="{FF2B5EF4-FFF2-40B4-BE49-F238E27FC236}">
                <a16:creationId xmlns:a16="http://schemas.microsoft.com/office/drawing/2014/main" id="{697802A7-A44E-4380-B1EF-0CFAA3F967C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11" name="Resim 10">
            <a:extLst>
              <a:ext uri="{FF2B5EF4-FFF2-40B4-BE49-F238E27FC236}">
                <a16:creationId xmlns:a16="http://schemas.microsoft.com/office/drawing/2014/main" id="{CE991DD8-9E59-4E70-A82B-C847F781E567}"/>
              </a:ext>
            </a:extLst>
          </p:cNvPr>
          <p:cNvPicPr>
            <a:picLocks noChangeAspect="1"/>
          </p:cNvPicPr>
          <p:nvPr/>
        </p:nvPicPr>
        <p:blipFill>
          <a:blip r:embed="rId11"/>
          <a:stretch>
            <a:fillRect/>
          </a:stretch>
        </p:blipFill>
        <p:spPr>
          <a:xfrm>
            <a:off x="5891881" y="1343748"/>
            <a:ext cx="6248400" cy="2390775"/>
          </a:xfrm>
          <a:prstGeom prst="rect">
            <a:avLst/>
          </a:prstGeom>
        </p:spPr>
      </p:pic>
      <p:pic>
        <p:nvPicPr>
          <p:cNvPr id="12" name="Resim 11">
            <a:extLst>
              <a:ext uri="{FF2B5EF4-FFF2-40B4-BE49-F238E27FC236}">
                <a16:creationId xmlns:a16="http://schemas.microsoft.com/office/drawing/2014/main" id="{FF37AF2E-023B-4DBA-93AA-3F327113DF32}"/>
              </a:ext>
            </a:extLst>
          </p:cNvPr>
          <p:cNvPicPr>
            <a:picLocks noChangeAspect="1"/>
          </p:cNvPicPr>
          <p:nvPr/>
        </p:nvPicPr>
        <p:blipFill>
          <a:blip r:embed="rId12"/>
          <a:stretch>
            <a:fillRect/>
          </a:stretch>
        </p:blipFill>
        <p:spPr>
          <a:xfrm>
            <a:off x="5891881" y="3823873"/>
            <a:ext cx="6267450" cy="2390775"/>
          </a:xfrm>
          <a:prstGeom prst="rect">
            <a:avLst/>
          </a:prstGeom>
        </p:spPr>
      </p:pic>
      <p:pic>
        <p:nvPicPr>
          <p:cNvPr id="14" name="Grafik 7">
            <a:extLst>
              <a:ext uri="{FF2B5EF4-FFF2-40B4-BE49-F238E27FC236}">
                <a16:creationId xmlns:a16="http://schemas.microsoft.com/office/drawing/2014/main" id="{C3364E30-C9FA-4469-8C11-30C239E255B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527" y="6287609"/>
            <a:ext cx="1283363" cy="303016"/>
          </a:xfrm>
          <a:prstGeom prst="rect">
            <a:avLst/>
          </a:prstGeom>
        </p:spPr>
      </p:pic>
      <p:sp>
        <p:nvSpPr>
          <p:cNvPr id="13" name="Başlık 14">
            <a:extLst>
              <a:ext uri="{FF2B5EF4-FFF2-40B4-BE49-F238E27FC236}">
                <a16:creationId xmlns:a16="http://schemas.microsoft.com/office/drawing/2014/main" id="{FD1DFB56-6E9C-4CF4-982B-94603914F99D}"/>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tr-TR" sz="5400" dirty="0">
                <a:solidFill>
                  <a:schemeClr val="accent1">
                    <a:lumMod val="75000"/>
                  </a:schemeClr>
                </a:solidFill>
              </a:rPr>
              <a:t>Akıllı Araçlar ve  Analiz Sistemleri</a:t>
            </a:r>
          </a:p>
        </p:txBody>
      </p:sp>
    </p:spTree>
    <p:extLst>
      <p:ext uri="{BB962C8B-B14F-4D97-AF65-F5344CB8AC3E}">
        <p14:creationId xmlns:p14="http://schemas.microsoft.com/office/powerpoint/2010/main" val="966266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descr="metin, kişi içeren bir resim&#10;&#10;Açıklama otomatik olarak oluşturuldu">
            <a:extLst>
              <a:ext uri="{FF2B5EF4-FFF2-40B4-BE49-F238E27FC236}">
                <a16:creationId xmlns:a16="http://schemas.microsoft.com/office/drawing/2014/main" id="{9D5058D0-61CE-74F8-14E7-A84B74F9A2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Resim 12">
            <a:extLst>
              <a:ext uri="{FF2B5EF4-FFF2-40B4-BE49-F238E27FC236}">
                <a16:creationId xmlns:a16="http://schemas.microsoft.com/office/drawing/2014/main" id="{2B033A88-BCDA-3E3F-D05C-F0A0369534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11620" y="-1210963"/>
            <a:ext cx="3768755" cy="5326929"/>
          </a:xfrm>
          <a:prstGeom prst="rect">
            <a:avLst/>
          </a:prstGeom>
        </p:spPr>
      </p:pic>
      <p:sp>
        <p:nvSpPr>
          <p:cNvPr id="15" name="Metin kutusu 14">
            <a:extLst>
              <a:ext uri="{FF2B5EF4-FFF2-40B4-BE49-F238E27FC236}">
                <a16:creationId xmlns:a16="http://schemas.microsoft.com/office/drawing/2014/main" id="{C006C6F2-1D39-8A95-BEFE-E0BCCF925C5C}"/>
              </a:ext>
            </a:extLst>
          </p:cNvPr>
          <p:cNvSpPr txBox="1"/>
          <p:nvPr/>
        </p:nvSpPr>
        <p:spPr>
          <a:xfrm>
            <a:off x="2690841" y="4028630"/>
            <a:ext cx="9629191" cy="923330"/>
          </a:xfrm>
          <a:prstGeom prst="rect">
            <a:avLst/>
          </a:prstGeom>
          <a:noFill/>
        </p:spPr>
        <p:txBody>
          <a:bodyPr wrap="square" rtlCol="0">
            <a:spAutoFit/>
          </a:bodyPr>
          <a:lstStyle/>
          <a:p>
            <a:r>
              <a:rPr lang="tr-TR" sz="5400" dirty="0">
                <a:solidFill>
                  <a:schemeClr val="bg1"/>
                </a:solidFill>
              </a:rPr>
              <a:t>APM ve KESTİRİMCİ BAKIM</a:t>
            </a:r>
          </a:p>
        </p:txBody>
      </p:sp>
      <p:pic>
        <p:nvPicPr>
          <p:cNvPr id="6" name="Picture 2" descr="Socar Logo BEYAZ.png">
            <a:extLst>
              <a:ext uri="{FF2B5EF4-FFF2-40B4-BE49-F238E27FC236}">
                <a16:creationId xmlns:a16="http://schemas.microsoft.com/office/drawing/2014/main" id="{D8FEC42A-8FD5-47E0-B148-7C2D7338E0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4121" y="1805747"/>
            <a:ext cx="6720840" cy="2583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75902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4" name="Metin kutusu 3"/>
          <p:cNvSpPr txBox="1"/>
          <p:nvPr/>
        </p:nvSpPr>
        <p:spPr>
          <a:xfrm>
            <a:off x="671803" y="1454727"/>
            <a:ext cx="6475445" cy="2308324"/>
          </a:xfrm>
          <a:prstGeom prst="rect">
            <a:avLst/>
          </a:prstGeom>
          <a:noFill/>
        </p:spPr>
        <p:txBody>
          <a:bodyPr wrap="square" rtlCol="0">
            <a:spAutoFit/>
          </a:bodyPr>
          <a:lstStyle/>
          <a:p>
            <a:r>
              <a:rPr lang="tr-TR" dirty="0"/>
              <a:t>Yarımadada ki tüm tesislerimizde, bünyemizde bulunan </a:t>
            </a:r>
            <a:r>
              <a:rPr lang="tr-TR" dirty="0" err="1"/>
              <a:t>ultrasound</a:t>
            </a:r>
            <a:r>
              <a:rPr lang="tr-TR" dirty="0"/>
              <a:t> cihazı ile aşağıdaki başlıklar altında </a:t>
            </a:r>
            <a:r>
              <a:rPr lang="tr-TR" dirty="0" err="1"/>
              <a:t>ultrasound</a:t>
            </a:r>
            <a:r>
              <a:rPr lang="tr-TR" dirty="0"/>
              <a:t> ölçümlerini gerçekleştiriyoruz;</a:t>
            </a:r>
          </a:p>
          <a:p>
            <a:pPr marL="285750" indent="-285750">
              <a:buFont typeface="Arial" panose="020B0604020202020204" pitchFamily="34" charset="0"/>
              <a:buChar char="•"/>
            </a:pPr>
            <a:r>
              <a:rPr lang="tr-TR" dirty="0"/>
              <a:t>Erken aşamadaki rulman arızalarının tespitinde;</a:t>
            </a:r>
          </a:p>
          <a:p>
            <a:pPr marL="285750" indent="-285750">
              <a:buFont typeface="Arial" panose="020B0604020202020204" pitchFamily="34" charset="0"/>
              <a:buChar char="•"/>
            </a:pPr>
            <a:r>
              <a:rPr lang="tr-TR" dirty="0" err="1"/>
              <a:t>Gresleme</a:t>
            </a:r>
            <a:r>
              <a:rPr lang="tr-TR" dirty="0"/>
              <a:t> esnasında, doğru miktarda </a:t>
            </a:r>
            <a:r>
              <a:rPr lang="tr-TR" dirty="0" err="1"/>
              <a:t>gresleme</a:t>
            </a:r>
            <a:r>
              <a:rPr lang="tr-TR" dirty="0"/>
              <a:t> yaparken;</a:t>
            </a:r>
          </a:p>
          <a:p>
            <a:pPr marL="285750" indent="-285750">
              <a:buFont typeface="Arial" panose="020B0604020202020204" pitchFamily="34" charset="0"/>
              <a:buChar char="•"/>
            </a:pPr>
            <a:r>
              <a:rPr lang="tr-TR" dirty="0" err="1"/>
              <a:t>Steam</a:t>
            </a:r>
            <a:r>
              <a:rPr lang="tr-TR" dirty="0"/>
              <a:t> Trap çalışma kontrollerinde;</a:t>
            </a:r>
          </a:p>
          <a:p>
            <a:pPr marL="285750" indent="-285750">
              <a:buFont typeface="Arial" panose="020B0604020202020204" pitchFamily="34" charset="0"/>
              <a:buChar char="•"/>
            </a:pPr>
            <a:r>
              <a:rPr lang="tr-TR" dirty="0"/>
              <a:t>Yavaş devirli dönen ekipmanların kontrollerinde.</a:t>
            </a:r>
          </a:p>
          <a:p>
            <a:pPr marL="285750" indent="-285750">
              <a:buFont typeface="Arial" panose="020B0604020202020204" pitchFamily="34" charset="0"/>
              <a:buChar char="•"/>
            </a:pPr>
            <a:endParaRPr lang="tr-TR" dirty="0"/>
          </a:p>
        </p:txBody>
      </p:sp>
      <p:pic>
        <p:nvPicPr>
          <p:cNvPr id="8" name="Resim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05253" y="1313942"/>
            <a:ext cx="2416419" cy="3221892"/>
          </a:xfrm>
          <a:prstGeom prst="rect">
            <a:avLst/>
          </a:prstGeom>
        </p:spPr>
      </p:pic>
      <p:sp>
        <p:nvSpPr>
          <p:cNvPr id="9" name="Başlık 14">
            <a:extLst>
              <a:ext uri="{FF2B5EF4-FFF2-40B4-BE49-F238E27FC236}">
                <a16:creationId xmlns:a16="http://schemas.microsoft.com/office/drawing/2014/main" id="{52F56824-E195-4FA2-8CCB-1E051F40C602}"/>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b="1" dirty="0" err="1">
                <a:solidFill>
                  <a:srgbClr val="004A85"/>
                </a:solidFill>
              </a:rPr>
              <a:t>Ultrasound</a:t>
            </a:r>
            <a:r>
              <a:rPr lang="tr-TR" sz="5400" b="1" dirty="0">
                <a:solidFill>
                  <a:srgbClr val="004A85"/>
                </a:solidFill>
              </a:rPr>
              <a:t> Ölçümü</a:t>
            </a:r>
          </a:p>
        </p:txBody>
      </p:sp>
      <p:pic>
        <p:nvPicPr>
          <p:cNvPr id="10" name="image180.jpeg">
            <a:extLst>
              <a:ext uri="{FF2B5EF4-FFF2-40B4-BE49-F238E27FC236}">
                <a16:creationId xmlns:a16="http://schemas.microsoft.com/office/drawing/2014/main" id="{0AADD0DC-BB8F-42A6-9247-FC360B576518}"/>
              </a:ext>
            </a:extLst>
          </p:cNvPr>
          <p:cNvPicPr/>
          <p:nvPr/>
        </p:nvPicPr>
        <p:blipFill>
          <a:blip r:embed="rId6" cstate="print"/>
          <a:stretch>
            <a:fillRect/>
          </a:stretch>
        </p:blipFill>
        <p:spPr>
          <a:xfrm>
            <a:off x="3315703" y="4535834"/>
            <a:ext cx="4248868" cy="1713772"/>
          </a:xfrm>
          <a:prstGeom prst="rect">
            <a:avLst/>
          </a:prstGeom>
        </p:spPr>
      </p:pic>
      <p:pic>
        <p:nvPicPr>
          <p:cNvPr id="11" name="Grafik 7">
            <a:extLst>
              <a:ext uri="{FF2B5EF4-FFF2-40B4-BE49-F238E27FC236}">
                <a16:creationId xmlns:a16="http://schemas.microsoft.com/office/drawing/2014/main" id="{3C96DA7E-08F2-4525-8B17-DCAF3BBB47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96940"/>
            <a:ext cx="1283363" cy="303016"/>
          </a:xfrm>
          <a:prstGeom prst="rect">
            <a:avLst/>
          </a:prstGeom>
        </p:spPr>
      </p:pic>
      <p:pic>
        <p:nvPicPr>
          <p:cNvPr id="12" name="Grafik 7">
            <a:extLst>
              <a:ext uri="{FF2B5EF4-FFF2-40B4-BE49-F238E27FC236}">
                <a16:creationId xmlns:a16="http://schemas.microsoft.com/office/drawing/2014/main" id="{1C551C75-A4C8-4E41-8111-4B336A2865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96940"/>
            <a:ext cx="1283363" cy="303016"/>
          </a:xfrm>
          <a:prstGeom prst="rect">
            <a:avLst/>
          </a:prstGeom>
        </p:spPr>
      </p:pic>
      <p:pic>
        <p:nvPicPr>
          <p:cNvPr id="13" name="Grafik 7">
            <a:extLst>
              <a:ext uri="{FF2B5EF4-FFF2-40B4-BE49-F238E27FC236}">
                <a16:creationId xmlns:a16="http://schemas.microsoft.com/office/drawing/2014/main" id="{22C7D403-6639-4E89-9AC0-2D60E03E57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32514462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3" name="Metin kutusu 2">
            <a:extLst>
              <a:ext uri="{FF2B5EF4-FFF2-40B4-BE49-F238E27FC236}">
                <a16:creationId xmlns:a16="http://schemas.microsoft.com/office/drawing/2014/main" id="{28A6A603-EFA7-4FA7-9A38-F4EEA715C177}"/>
              </a:ext>
            </a:extLst>
          </p:cNvPr>
          <p:cNvSpPr txBox="1"/>
          <p:nvPr/>
        </p:nvSpPr>
        <p:spPr>
          <a:xfrm>
            <a:off x="838058" y="1470532"/>
            <a:ext cx="7401952" cy="369332"/>
          </a:xfrm>
          <a:prstGeom prst="rect">
            <a:avLst/>
          </a:prstGeom>
          <a:noFill/>
        </p:spPr>
        <p:txBody>
          <a:bodyPr wrap="square" rtlCol="0">
            <a:spAutoFit/>
          </a:bodyPr>
          <a:lstStyle/>
          <a:p>
            <a:pPr marL="285750" indent="-285750">
              <a:buFont typeface="Arial" panose="020B0604020202020204" pitchFamily="34" charset="0"/>
              <a:buChar char="•"/>
            </a:pPr>
            <a:r>
              <a:rPr lang="tr-TR" dirty="0"/>
              <a:t>YARIMADADA Kİ TESİSLERİMİZDE YAĞLAMA UYGULAMALARI</a:t>
            </a:r>
          </a:p>
        </p:txBody>
      </p:sp>
      <p:sp>
        <p:nvSpPr>
          <p:cNvPr id="4" name="Metin kutusu 3"/>
          <p:cNvSpPr txBox="1"/>
          <p:nvPr/>
        </p:nvSpPr>
        <p:spPr>
          <a:xfrm>
            <a:off x="838058" y="1938576"/>
            <a:ext cx="6286654" cy="1200329"/>
          </a:xfrm>
          <a:prstGeom prst="rect">
            <a:avLst/>
          </a:prstGeom>
          <a:noFill/>
        </p:spPr>
        <p:txBody>
          <a:bodyPr wrap="square" rtlCol="0">
            <a:spAutoFit/>
          </a:bodyPr>
          <a:lstStyle/>
          <a:p>
            <a:r>
              <a:rPr lang="tr-TR" dirty="0"/>
              <a:t>Tesislerimizde, ICML 55.1 ışığında yağlama aktivitelerimiz sürmektedir. Yaptığımız tüm çalışmalarla, ICML 55.1 standardını tesislerimizde yaygınlaştırıyoruz. ICML 55.1 Standardı, yağlama programını 12 adımda tanımlamıştır.</a:t>
            </a:r>
          </a:p>
        </p:txBody>
      </p:sp>
      <p:pic>
        <p:nvPicPr>
          <p:cNvPr id="8" name="Grafik 7">
            <a:extLst>
              <a:ext uri="{FF2B5EF4-FFF2-40B4-BE49-F238E27FC236}">
                <a16:creationId xmlns:a16="http://schemas.microsoft.com/office/drawing/2014/main" id="{3F9CBFFB-73CC-4CB0-9E3D-4E03B0D814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527" y="6287609"/>
            <a:ext cx="1283363" cy="303016"/>
          </a:xfrm>
          <a:prstGeom prst="rect">
            <a:avLst/>
          </a:prstGeom>
        </p:spPr>
      </p:pic>
      <p:sp>
        <p:nvSpPr>
          <p:cNvPr id="9" name="Başlık 14">
            <a:extLst>
              <a:ext uri="{FF2B5EF4-FFF2-40B4-BE49-F238E27FC236}">
                <a16:creationId xmlns:a16="http://schemas.microsoft.com/office/drawing/2014/main" id="{7F72BBEB-CB80-415A-B174-397F7AFC92E6}"/>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b="1" dirty="0">
                <a:solidFill>
                  <a:srgbClr val="004A85"/>
                </a:solidFill>
              </a:rPr>
              <a:t>Yağlama</a:t>
            </a:r>
          </a:p>
        </p:txBody>
      </p:sp>
      <p:pic>
        <p:nvPicPr>
          <p:cNvPr id="10" name="Picture 2">
            <a:extLst>
              <a:ext uri="{FF2B5EF4-FFF2-40B4-BE49-F238E27FC236}">
                <a16:creationId xmlns:a16="http://schemas.microsoft.com/office/drawing/2014/main" id="{A0A5C72F-1573-4BE5-8053-EB7ABE721E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9714" y="490180"/>
            <a:ext cx="2737854" cy="57974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F2D85BA9-F62F-4DD4-ADEA-C022395B2E8F}"/>
              </a:ext>
            </a:extLst>
          </p:cNvPr>
          <p:cNvPicPr>
            <a:picLocks noChangeAspect="1"/>
          </p:cNvPicPr>
          <p:nvPr/>
        </p:nvPicPr>
        <p:blipFill>
          <a:blip r:embed="rId8"/>
          <a:stretch>
            <a:fillRect/>
          </a:stretch>
        </p:blipFill>
        <p:spPr>
          <a:xfrm>
            <a:off x="838058" y="3303842"/>
            <a:ext cx="3634750" cy="2041597"/>
          </a:xfrm>
          <a:prstGeom prst="rect">
            <a:avLst/>
          </a:prstGeom>
        </p:spPr>
      </p:pic>
      <p:pic>
        <p:nvPicPr>
          <p:cNvPr id="12" name="Resim 7">
            <a:extLst>
              <a:ext uri="{FF2B5EF4-FFF2-40B4-BE49-F238E27FC236}">
                <a16:creationId xmlns:a16="http://schemas.microsoft.com/office/drawing/2014/main" id="{19A358E8-59EB-4676-B2C8-E7DD3CC2889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02287" y="4430875"/>
            <a:ext cx="3300860" cy="1856734"/>
          </a:xfrm>
          <a:prstGeom prst="rect">
            <a:avLst/>
          </a:prstGeom>
        </p:spPr>
      </p:pic>
    </p:spTree>
    <p:extLst>
      <p:ext uri="{BB962C8B-B14F-4D97-AF65-F5344CB8AC3E}">
        <p14:creationId xmlns:p14="http://schemas.microsoft.com/office/powerpoint/2010/main" val="17991115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Resim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23590" y="4643830"/>
            <a:ext cx="2246007" cy="1795287"/>
          </a:xfrm>
          <a:prstGeom prst="rect">
            <a:avLst/>
          </a:prstGeom>
        </p:spPr>
      </p:pic>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4" name="Metin kutusu 3"/>
          <p:cNvSpPr txBox="1"/>
          <p:nvPr/>
        </p:nvSpPr>
        <p:spPr>
          <a:xfrm>
            <a:off x="838058" y="1899261"/>
            <a:ext cx="7131336" cy="1477328"/>
          </a:xfrm>
          <a:prstGeom prst="rect">
            <a:avLst/>
          </a:prstGeom>
          <a:noFill/>
        </p:spPr>
        <p:txBody>
          <a:bodyPr wrap="square" rtlCol="0">
            <a:spAutoFit/>
          </a:bodyPr>
          <a:lstStyle/>
          <a:p>
            <a:r>
              <a:rPr lang="tr-TR" b="1" dirty="0"/>
              <a:t>SAHA KONTROLLERİ</a:t>
            </a:r>
          </a:p>
          <a:p>
            <a:r>
              <a:rPr lang="tr-TR" dirty="0"/>
              <a:t>Tesislerimizde bulunan tüm döner ekipmanlar sahada periyodik olarak kontrol edilmektedir. Periyodik kontrollerimiz, aşağıdaki örnekte göreceğiniz gibi basit fakat ilerlerse büyük bir arızaya sebep olabilecek bulgular yakalamaktadır.</a:t>
            </a:r>
          </a:p>
        </p:txBody>
      </p:sp>
      <p:sp>
        <p:nvSpPr>
          <p:cNvPr id="8" name="Metin kutusu 7"/>
          <p:cNvSpPr txBox="1"/>
          <p:nvPr/>
        </p:nvSpPr>
        <p:spPr>
          <a:xfrm>
            <a:off x="837001" y="3458222"/>
            <a:ext cx="6107437" cy="2308324"/>
          </a:xfrm>
          <a:prstGeom prst="rect">
            <a:avLst/>
          </a:prstGeom>
          <a:noFill/>
        </p:spPr>
        <p:txBody>
          <a:bodyPr wrap="square" rtlCol="0">
            <a:spAutoFit/>
          </a:bodyPr>
          <a:lstStyle/>
          <a:p>
            <a:r>
              <a:rPr lang="tr-TR" dirty="0"/>
              <a:t>Tesisimizde bulunan bir döner ekipman, bakım sonrası devreye alınmıştır. Devreye alındıktan 1 gün sonra yağ kontrolü yapıldığında bronz talaşlar bulunmuştur. Yapılan kontrolde ekipman içerisinde sadece bronz malzemenin yağlama ringinde kullanıldığı tespit edilmiştir ve ekipman yağında bronz talaşı görülmeye devam etmiştir. Ekipman 2. gün durdurulup tekrar bakıma alınmıştır. Rulman somonunun yağlama ringine sürttüğü ve talaş kaldırdığı tespit edilmiştir.</a:t>
            </a:r>
          </a:p>
        </p:txBody>
      </p:sp>
      <p:pic>
        <p:nvPicPr>
          <p:cNvPr id="9" name="Resim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27698" y="821346"/>
            <a:ext cx="2685611" cy="2014208"/>
          </a:xfrm>
          <a:prstGeom prst="rect">
            <a:avLst/>
          </a:prstGeom>
        </p:spPr>
      </p:pic>
      <p:pic>
        <p:nvPicPr>
          <p:cNvPr id="10" name="Resim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27698" y="2943145"/>
            <a:ext cx="2747061" cy="2060296"/>
          </a:xfrm>
          <a:prstGeom prst="rect">
            <a:avLst/>
          </a:prstGeom>
        </p:spPr>
      </p:pic>
      <p:pic>
        <p:nvPicPr>
          <p:cNvPr id="12" name="Grafik 7">
            <a:extLst>
              <a:ext uri="{FF2B5EF4-FFF2-40B4-BE49-F238E27FC236}">
                <a16:creationId xmlns:a16="http://schemas.microsoft.com/office/drawing/2014/main" id="{246AFA76-59CE-4B98-B646-6BD065F9C5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7" y="6287609"/>
            <a:ext cx="1283363" cy="303016"/>
          </a:xfrm>
          <a:prstGeom prst="rect">
            <a:avLst/>
          </a:prstGeom>
        </p:spPr>
      </p:pic>
      <p:sp>
        <p:nvSpPr>
          <p:cNvPr id="13" name="Metin kutusu 2">
            <a:extLst>
              <a:ext uri="{FF2B5EF4-FFF2-40B4-BE49-F238E27FC236}">
                <a16:creationId xmlns:a16="http://schemas.microsoft.com/office/drawing/2014/main" id="{C1A84CBF-2D19-401B-BA38-39564596E950}"/>
              </a:ext>
            </a:extLst>
          </p:cNvPr>
          <p:cNvSpPr txBox="1"/>
          <p:nvPr/>
        </p:nvSpPr>
        <p:spPr>
          <a:xfrm>
            <a:off x="838058" y="1470532"/>
            <a:ext cx="7401952" cy="369332"/>
          </a:xfrm>
          <a:prstGeom prst="rect">
            <a:avLst/>
          </a:prstGeom>
          <a:noFill/>
        </p:spPr>
        <p:txBody>
          <a:bodyPr wrap="square" rtlCol="0">
            <a:spAutoFit/>
          </a:bodyPr>
          <a:lstStyle/>
          <a:p>
            <a:pPr marL="285750" indent="-285750">
              <a:buFont typeface="Arial" panose="020B0604020202020204" pitchFamily="34" charset="0"/>
              <a:buChar char="•"/>
            </a:pPr>
            <a:r>
              <a:rPr lang="tr-TR" dirty="0"/>
              <a:t>YARIMADADA Kİ TESİSLERİMİZDE YAĞLAMA UYGULAMALARI</a:t>
            </a:r>
          </a:p>
        </p:txBody>
      </p:sp>
      <p:sp>
        <p:nvSpPr>
          <p:cNvPr id="14" name="Başlık 14">
            <a:extLst>
              <a:ext uri="{FF2B5EF4-FFF2-40B4-BE49-F238E27FC236}">
                <a16:creationId xmlns:a16="http://schemas.microsoft.com/office/drawing/2014/main" id="{40474D30-7D29-4E62-9FCC-19CBA05B3F11}"/>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b="1" dirty="0">
                <a:solidFill>
                  <a:srgbClr val="004A85"/>
                </a:solidFill>
              </a:rPr>
              <a:t>Yağlama</a:t>
            </a:r>
          </a:p>
        </p:txBody>
      </p:sp>
    </p:spTree>
    <p:extLst>
      <p:ext uri="{BB962C8B-B14F-4D97-AF65-F5344CB8AC3E}">
        <p14:creationId xmlns:p14="http://schemas.microsoft.com/office/powerpoint/2010/main" val="2951282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E9B772-ED1E-4564-9A03-DB9D6B98EE16}"/>
              </a:ext>
            </a:extLst>
          </p:cNvPr>
          <p:cNvPicPr>
            <a:picLocks noChangeAspect="1"/>
          </p:cNvPicPr>
          <p:nvPr/>
        </p:nvPicPr>
        <p:blipFill>
          <a:blip r:embed="rId2"/>
          <a:stretch>
            <a:fillRect/>
          </a:stretch>
        </p:blipFill>
        <p:spPr>
          <a:xfrm>
            <a:off x="1704075" y="3865721"/>
            <a:ext cx="4111551" cy="2304832"/>
          </a:xfrm>
          <a:prstGeom prst="rect">
            <a:avLst/>
          </a:prstGeom>
        </p:spPr>
      </p:pic>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4" name="Metin kutusu 3"/>
          <p:cNvSpPr txBox="1"/>
          <p:nvPr/>
        </p:nvSpPr>
        <p:spPr>
          <a:xfrm>
            <a:off x="838058" y="1919286"/>
            <a:ext cx="4793673" cy="1477328"/>
          </a:xfrm>
          <a:prstGeom prst="rect">
            <a:avLst/>
          </a:prstGeom>
          <a:noFill/>
        </p:spPr>
        <p:txBody>
          <a:bodyPr wrap="square" rtlCol="0">
            <a:spAutoFit/>
          </a:bodyPr>
          <a:lstStyle/>
          <a:p>
            <a:r>
              <a:rPr lang="tr-TR" dirty="0"/>
              <a:t>Tesislerimizde bulunan döner ekipmanlar arasında, kritiklik çalışmaları sonrasında seçilen kritik ekipmanlarda, yağ hacmi 80 litre ve üzeri olan ekipmanlarımızda yağ analizi yapılarak izlenmektedir.</a:t>
            </a:r>
          </a:p>
        </p:txBody>
      </p:sp>
      <p:pic>
        <p:nvPicPr>
          <p:cNvPr id="10" name="Resim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17445" y="1235942"/>
            <a:ext cx="4529845" cy="4846874"/>
          </a:xfrm>
          <a:prstGeom prst="rect">
            <a:avLst/>
          </a:prstGeom>
        </p:spPr>
      </p:pic>
      <p:pic>
        <p:nvPicPr>
          <p:cNvPr id="11" name="Grafik 7">
            <a:extLst>
              <a:ext uri="{FF2B5EF4-FFF2-40B4-BE49-F238E27FC236}">
                <a16:creationId xmlns:a16="http://schemas.microsoft.com/office/drawing/2014/main" id="{AE4CE90E-C210-483E-B222-7F44E8CD57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
        <p:nvSpPr>
          <p:cNvPr id="12" name="Metin kutusu 2">
            <a:extLst>
              <a:ext uri="{FF2B5EF4-FFF2-40B4-BE49-F238E27FC236}">
                <a16:creationId xmlns:a16="http://schemas.microsoft.com/office/drawing/2014/main" id="{32FABDCA-5FFC-41AB-A1BD-1B316D6FB607}"/>
              </a:ext>
            </a:extLst>
          </p:cNvPr>
          <p:cNvSpPr txBox="1"/>
          <p:nvPr/>
        </p:nvSpPr>
        <p:spPr>
          <a:xfrm>
            <a:off x="838058" y="1470532"/>
            <a:ext cx="7401952" cy="369332"/>
          </a:xfrm>
          <a:prstGeom prst="rect">
            <a:avLst/>
          </a:prstGeom>
          <a:noFill/>
        </p:spPr>
        <p:txBody>
          <a:bodyPr wrap="square" rtlCol="0">
            <a:spAutoFit/>
          </a:bodyPr>
          <a:lstStyle/>
          <a:p>
            <a:pPr marL="285750" indent="-285750">
              <a:buFont typeface="Arial" panose="020B0604020202020204" pitchFamily="34" charset="0"/>
              <a:buChar char="•"/>
            </a:pPr>
            <a:r>
              <a:rPr lang="tr-TR" dirty="0"/>
              <a:t>YARIMADADA Kİ TESİSLERİMİZDE YAĞLAMA UYGULAMALARI</a:t>
            </a:r>
          </a:p>
        </p:txBody>
      </p:sp>
      <p:sp>
        <p:nvSpPr>
          <p:cNvPr id="13" name="Başlık 14">
            <a:extLst>
              <a:ext uri="{FF2B5EF4-FFF2-40B4-BE49-F238E27FC236}">
                <a16:creationId xmlns:a16="http://schemas.microsoft.com/office/drawing/2014/main" id="{851B1985-2CCE-449B-9DE8-1A8B6811C59E}"/>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b="1" dirty="0">
                <a:solidFill>
                  <a:srgbClr val="004A85"/>
                </a:solidFill>
              </a:rPr>
              <a:t>Yağlama</a:t>
            </a:r>
          </a:p>
        </p:txBody>
      </p:sp>
    </p:spTree>
    <p:extLst>
      <p:ext uri="{BB962C8B-B14F-4D97-AF65-F5344CB8AC3E}">
        <p14:creationId xmlns:p14="http://schemas.microsoft.com/office/powerpoint/2010/main" val="2954409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4" name="Metin kutusu 3"/>
          <p:cNvSpPr txBox="1"/>
          <p:nvPr/>
        </p:nvSpPr>
        <p:spPr>
          <a:xfrm>
            <a:off x="531843" y="1931823"/>
            <a:ext cx="6214190" cy="2031325"/>
          </a:xfrm>
          <a:prstGeom prst="rect">
            <a:avLst/>
          </a:prstGeom>
          <a:noFill/>
        </p:spPr>
        <p:txBody>
          <a:bodyPr wrap="square" rtlCol="0">
            <a:spAutoFit/>
          </a:bodyPr>
          <a:lstStyle/>
          <a:p>
            <a:r>
              <a:rPr lang="tr-TR" dirty="0"/>
              <a:t>Rafineri ve petrokimya tesislerimizde buhar kapanı ölçümleri </a:t>
            </a:r>
            <a:r>
              <a:rPr lang="tr-TR" dirty="0" err="1"/>
              <a:t>kestirimci</a:t>
            </a:r>
            <a:r>
              <a:rPr lang="tr-TR" dirty="0"/>
              <a:t> bakım başmühendisliği çatısı altında gerçekleştirilmektedir. Buhar kapanı ölçümlerimiz, </a:t>
            </a:r>
            <a:r>
              <a:rPr lang="tr-TR" dirty="0" err="1"/>
              <a:t>ultrasound</a:t>
            </a:r>
            <a:r>
              <a:rPr lang="tr-TR" dirty="0"/>
              <a:t> dinleme ve sıcaklık ölçümüne dayanmaktadır. Ölçümlerimiz, her bir buhar kapanı için yılda 3 defa olmakta, buhar kaybı, finansal kayıp gibi analizleri yaparak bakım çalışmalarımızı yönlendirmekteyiz</a:t>
            </a:r>
          </a:p>
        </p:txBody>
      </p:sp>
      <p:pic>
        <p:nvPicPr>
          <p:cNvPr id="8" name="Grafik 7">
            <a:extLst>
              <a:ext uri="{FF2B5EF4-FFF2-40B4-BE49-F238E27FC236}">
                <a16:creationId xmlns:a16="http://schemas.microsoft.com/office/drawing/2014/main" id="{A328C905-BC88-4DFA-BBCD-2F97785CE2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527" y="6287609"/>
            <a:ext cx="1283363" cy="303016"/>
          </a:xfrm>
          <a:prstGeom prst="rect">
            <a:avLst/>
          </a:prstGeom>
        </p:spPr>
      </p:pic>
      <p:sp>
        <p:nvSpPr>
          <p:cNvPr id="9" name="Başlık 14">
            <a:extLst>
              <a:ext uri="{FF2B5EF4-FFF2-40B4-BE49-F238E27FC236}">
                <a16:creationId xmlns:a16="http://schemas.microsoft.com/office/drawing/2014/main" id="{CCE1EAF8-5AB3-4100-A78B-3DDE350A7E9C}"/>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rPr>
              <a:t>Buhar Kapanı Ölçüm ve Bakımı</a:t>
            </a:r>
          </a:p>
        </p:txBody>
      </p:sp>
      <p:sp>
        <p:nvSpPr>
          <p:cNvPr id="10" name="TextBox 9">
            <a:extLst>
              <a:ext uri="{FF2B5EF4-FFF2-40B4-BE49-F238E27FC236}">
                <a16:creationId xmlns:a16="http://schemas.microsoft.com/office/drawing/2014/main" id="{043529F9-6AAE-443F-9D63-FACB350060E1}"/>
              </a:ext>
            </a:extLst>
          </p:cNvPr>
          <p:cNvSpPr txBox="1"/>
          <p:nvPr/>
        </p:nvSpPr>
        <p:spPr>
          <a:xfrm>
            <a:off x="531843" y="1313942"/>
            <a:ext cx="3638939" cy="369332"/>
          </a:xfrm>
          <a:prstGeom prst="rect">
            <a:avLst/>
          </a:prstGeom>
          <a:noFill/>
        </p:spPr>
        <p:txBody>
          <a:bodyPr wrap="square" rtlCol="0">
            <a:spAutoFit/>
          </a:bodyPr>
          <a:lstStyle/>
          <a:p>
            <a:r>
              <a:rPr lang="tr-TR" u="sng" dirty="0"/>
              <a:t>1) Offline Buhar Kapanı Ölçümleri</a:t>
            </a:r>
          </a:p>
        </p:txBody>
      </p:sp>
      <p:pic>
        <p:nvPicPr>
          <p:cNvPr id="11" name="Picture 10">
            <a:extLst>
              <a:ext uri="{FF2B5EF4-FFF2-40B4-BE49-F238E27FC236}">
                <a16:creationId xmlns:a16="http://schemas.microsoft.com/office/drawing/2014/main" id="{A7B7D0DB-D81A-4A40-90B5-EB9171F11BC5}"/>
              </a:ext>
            </a:extLst>
          </p:cNvPr>
          <p:cNvPicPr>
            <a:picLocks noChangeAspect="1"/>
          </p:cNvPicPr>
          <p:nvPr/>
        </p:nvPicPr>
        <p:blipFill>
          <a:blip r:embed="rId7"/>
          <a:stretch>
            <a:fillRect/>
          </a:stretch>
        </p:blipFill>
        <p:spPr>
          <a:xfrm>
            <a:off x="7455931" y="1931823"/>
            <a:ext cx="4204226" cy="4212772"/>
          </a:xfrm>
          <a:prstGeom prst="rect">
            <a:avLst/>
          </a:prstGeom>
        </p:spPr>
      </p:pic>
    </p:spTree>
    <p:extLst>
      <p:ext uri="{BB962C8B-B14F-4D97-AF65-F5344CB8AC3E}">
        <p14:creationId xmlns:p14="http://schemas.microsoft.com/office/powerpoint/2010/main" val="3408396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alpha val="94000"/>
          </a:schemeClr>
        </a:solidFill>
        <a:effectLst/>
      </p:bgPr>
    </p:bg>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4" name="Metin kutusu 3"/>
          <p:cNvSpPr txBox="1"/>
          <p:nvPr/>
        </p:nvSpPr>
        <p:spPr>
          <a:xfrm>
            <a:off x="531843" y="1795932"/>
            <a:ext cx="4599994" cy="1754326"/>
          </a:xfrm>
          <a:prstGeom prst="rect">
            <a:avLst/>
          </a:prstGeom>
          <a:noFill/>
        </p:spPr>
        <p:txBody>
          <a:bodyPr wrap="square" rtlCol="0">
            <a:spAutoFit/>
          </a:bodyPr>
          <a:lstStyle/>
          <a:p>
            <a:r>
              <a:rPr lang="tr-TR" dirty="0"/>
              <a:t>Rafineri tesisimizde ise, bir çözüm ortağımızla beraber online buhar kapanı ölçüm denemeleri yapılmaktadır. Bu sistem sayesinde gerçek zamanlı olarak buhar kapanlarımızın durumlarını izleyebilmekte ve kaçak miktarının finansal analizini görebilmekteyiz.</a:t>
            </a:r>
          </a:p>
        </p:txBody>
      </p:sp>
      <p:pic>
        <p:nvPicPr>
          <p:cNvPr id="9" name="Grafik 7">
            <a:extLst>
              <a:ext uri="{FF2B5EF4-FFF2-40B4-BE49-F238E27FC236}">
                <a16:creationId xmlns:a16="http://schemas.microsoft.com/office/drawing/2014/main" id="{898CC82C-F404-49BE-8437-3001D242C6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527" y="6287609"/>
            <a:ext cx="1283363" cy="303016"/>
          </a:xfrm>
          <a:prstGeom prst="rect">
            <a:avLst/>
          </a:prstGeom>
        </p:spPr>
      </p:pic>
      <p:sp>
        <p:nvSpPr>
          <p:cNvPr id="10" name="Başlık 14">
            <a:extLst>
              <a:ext uri="{FF2B5EF4-FFF2-40B4-BE49-F238E27FC236}">
                <a16:creationId xmlns:a16="http://schemas.microsoft.com/office/drawing/2014/main" id="{86190214-264C-4147-A370-54689BA161F3}"/>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rPr>
              <a:t>Buhar Kapanı Ölçüm ve Bakımı</a:t>
            </a:r>
          </a:p>
        </p:txBody>
      </p:sp>
      <p:sp>
        <p:nvSpPr>
          <p:cNvPr id="11" name="TextBox 10">
            <a:extLst>
              <a:ext uri="{FF2B5EF4-FFF2-40B4-BE49-F238E27FC236}">
                <a16:creationId xmlns:a16="http://schemas.microsoft.com/office/drawing/2014/main" id="{6635E8C2-58BB-4911-A4D1-CC1863BB3D0E}"/>
              </a:ext>
            </a:extLst>
          </p:cNvPr>
          <p:cNvSpPr txBox="1"/>
          <p:nvPr/>
        </p:nvSpPr>
        <p:spPr>
          <a:xfrm>
            <a:off x="531843" y="1313942"/>
            <a:ext cx="3638939" cy="369332"/>
          </a:xfrm>
          <a:prstGeom prst="rect">
            <a:avLst/>
          </a:prstGeom>
          <a:noFill/>
        </p:spPr>
        <p:txBody>
          <a:bodyPr wrap="square" rtlCol="0">
            <a:spAutoFit/>
          </a:bodyPr>
          <a:lstStyle/>
          <a:p>
            <a:r>
              <a:rPr lang="tr-TR" u="sng" dirty="0"/>
              <a:t>2) Online Buhar Kapanı Ölçümleri</a:t>
            </a:r>
          </a:p>
        </p:txBody>
      </p:sp>
      <p:pic>
        <p:nvPicPr>
          <p:cNvPr id="12" name="Picture 11">
            <a:extLst>
              <a:ext uri="{FF2B5EF4-FFF2-40B4-BE49-F238E27FC236}">
                <a16:creationId xmlns:a16="http://schemas.microsoft.com/office/drawing/2014/main" id="{29D8587D-2759-424E-8122-4E44A1E0CDF8}"/>
              </a:ext>
            </a:extLst>
          </p:cNvPr>
          <p:cNvPicPr>
            <a:picLocks noChangeAspect="1"/>
          </p:cNvPicPr>
          <p:nvPr/>
        </p:nvPicPr>
        <p:blipFill>
          <a:blip r:embed="rId7"/>
          <a:stretch>
            <a:fillRect/>
          </a:stretch>
        </p:blipFill>
        <p:spPr>
          <a:xfrm>
            <a:off x="1019895" y="3616819"/>
            <a:ext cx="3409865" cy="2352494"/>
          </a:xfrm>
          <a:prstGeom prst="rect">
            <a:avLst/>
          </a:prstGeom>
        </p:spPr>
      </p:pic>
      <p:grpSp>
        <p:nvGrpSpPr>
          <p:cNvPr id="19" name="Grup 18">
            <a:extLst>
              <a:ext uri="{FF2B5EF4-FFF2-40B4-BE49-F238E27FC236}">
                <a16:creationId xmlns:a16="http://schemas.microsoft.com/office/drawing/2014/main" id="{E24DA928-7EBB-4EE8-A595-747F28B51DFF}"/>
              </a:ext>
            </a:extLst>
          </p:cNvPr>
          <p:cNvGrpSpPr/>
          <p:nvPr/>
        </p:nvGrpSpPr>
        <p:grpSpPr>
          <a:xfrm>
            <a:off x="5960134" y="1575380"/>
            <a:ext cx="5109336" cy="3716594"/>
            <a:chOff x="5960134" y="1575380"/>
            <a:chExt cx="5109336" cy="3716594"/>
          </a:xfrm>
        </p:grpSpPr>
        <p:pic>
          <p:nvPicPr>
            <p:cNvPr id="8" name="Resim 7"/>
            <p:cNvPicPr>
              <a:picLocks noChangeAspect="1"/>
            </p:cNvPicPr>
            <p:nvPr/>
          </p:nvPicPr>
          <p:blipFill>
            <a:blip r:embed="rId8"/>
            <a:stretch>
              <a:fillRect/>
            </a:stretch>
          </p:blipFill>
          <p:spPr>
            <a:xfrm>
              <a:off x="5960134" y="1575380"/>
              <a:ext cx="5109336" cy="3707239"/>
            </a:xfrm>
            <a:prstGeom prst="rect">
              <a:avLst/>
            </a:prstGeom>
          </p:spPr>
        </p:pic>
        <p:pic>
          <p:nvPicPr>
            <p:cNvPr id="18" name="Resim 17">
              <a:extLst>
                <a:ext uri="{FF2B5EF4-FFF2-40B4-BE49-F238E27FC236}">
                  <a16:creationId xmlns:a16="http://schemas.microsoft.com/office/drawing/2014/main" id="{70E3EA7B-3AEA-4176-BBD1-A11AFDB8D369}"/>
                </a:ext>
              </a:extLst>
            </p:cNvPr>
            <p:cNvPicPr>
              <a:picLocks noChangeAspect="1"/>
            </p:cNvPicPr>
            <p:nvPr/>
          </p:nvPicPr>
          <p:blipFill>
            <a:blip r:embed="rId9"/>
            <a:stretch>
              <a:fillRect/>
            </a:stretch>
          </p:blipFill>
          <p:spPr>
            <a:xfrm>
              <a:off x="6458088" y="2051222"/>
              <a:ext cx="2277539" cy="3240752"/>
            </a:xfrm>
            <a:prstGeom prst="rect">
              <a:avLst/>
            </a:prstGeom>
          </p:spPr>
        </p:pic>
      </p:grpSp>
    </p:spTree>
    <p:extLst>
      <p:ext uri="{BB962C8B-B14F-4D97-AF65-F5344CB8AC3E}">
        <p14:creationId xmlns:p14="http://schemas.microsoft.com/office/powerpoint/2010/main" val="29444511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im 3">
            <a:extLst>
              <a:ext uri="{FF2B5EF4-FFF2-40B4-BE49-F238E27FC236}">
                <a16:creationId xmlns:a16="http://schemas.microsoft.com/office/drawing/2014/main" id="{B64BA482-7014-47AA-8E62-600D2F407ED7}"/>
              </a:ext>
            </a:extLst>
          </p:cNvPr>
          <p:cNvPicPr>
            <a:picLocks noChangeAspect="1"/>
          </p:cNvPicPr>
          <p:nvPr/>
        </p:nvPicPr>
        <p:blipFill>
          <a:blip r:embed="rId2"/>
          <a:stretch>
            <a:fillRect/>
          </a:stretch>
        </p:blipFill>
        <p:spPr>
          <a:xfrm>
            <a:off x="498296" y="3539660"/>
            <a:ext cx="4718844" cy="2124293"/>
          </a:xfrm>
          <a:prstGeom prst="rect">
            <a:avLst/>
          </a:prstGeom>
        </p:spPr>
      </p:pic>
      <p:pic>
        <p:nvPicPr>
          <p:cNvPr id="6" name="Picture 4">
            <a:extLst>
              <a:ext uri="{FF2B5EF4-FFF2-40B4-BE49-F238E27FC236}">
                <a16:creationId xmlns:a16="http://schemas.microsoft.com/office/drawing/2014/main" id="{14C76D31-D566-4C82-9E57-47193C6FDD48}"/>
              </a:ext>
            </a:extLst>
          </p:cNvPr>
          <p:cNvPicPr/>
          <p:nvPr/>
        </p:nvPicPr>
        <p:blipFill>
          <a:blip r:embed="rId3"/>
          <a:srcRect/>
          <a:stretch/>
        </p:blipFill>
        <p:spPr>
          <a:xfrm>
            <a:off x="6286207" y="1669762"/>
            <a:ext cx="5373950" cy="2512380"/>
          </a:xfrm>
          <a:prstGeom prst="rect">
            <a:avLst/>
          </a:prstGeom>
        </p:spPr>
      </p:pic>
      <p:sp>
        <p:nvSpPr>
          <p:cNvPr id="5" name="Dikdörtgen 4">
            <a:extLst>
              <a:ext uri="{FF2B5EF4-FFF2-40B4-BE49-F238E27FC236}">
                <a16:creationId xmlns:a16="http://schemas.microsoft.com/office/drawing/2014/main" id="{C5D83ECA-9B75-4F57-99E4-3AD4C7A49FB2}"/>
              </a:ext>
            </a:extLst>
          </p:cNvPr>
          <p:cNvSpPr/>
          <p:nvPr/>
        </p:nvSpPr>
        <p:spPr>
          <a:xfrm>
            <a:off x="458739" y="2031918"/>
            <a:ext cx="4758401" cy="1200329"/>
          </a:xfrm>
          <a:prstGeom prst="rect">
            <a:avLst/>
          </a:prstGeom>
        </p:spPr>
        <p:txBody>
          <a:bodyPr wrap="square">
            <a:spAutoFit/>
          </a:bodyPr>
          <a:lstStyle/>
          <a:p>
            <a:r>
              <a:rPr lang="tr-TR" dirty="0"/>
              <a:t>Elektrik motorlarındaki; mekanik ve elektriksel arızaların önceden tespit edilerek ekipman duruşlarının önüne geçilmesi.</a:t>
            </a:r>
          </a:p>
          <a:p>
            <a:pPr>
              <a:buFont typeface="Wingdings" panose="05000000000000000000" pitchFamily="2" charset="2"/>
              <a:buChar char="Ø"/>
            </a:pPr>
            <a:endParaRPr lang="tr-TR" dirty="0"/>
          </a:p>
        </p:txBody>
      </p:sp>
      <p:pic>
        <p:nvPicPr>
          <p:cNvPr id="9" name="Grafik 8">
            <a:extLst>
              <a:ext uri="{FF2B5EF4-FFF2-40B4-BE49-F238E27FC236}">
                <a16:creationId xmlns:a16="http://schemas.microsoft.com/office/drawing/2014/main" id="{6A4F17A7-5E83-4E8A-B760-FFCF927E2B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519" y="6417094"/>
            <a:ext cx="1283363" cy="303016"/>
          </a:xfrm>
          <a:prstGeom prst="rect">
            <a:avLst/>
          </a:prstGeom>
        </p:spPr>
      </p:pic>
      <p:pic>
        <p:nvPicPr>
          <p:cNvPr id="7" name="Resim 4">
            <a:extLst>
              <a:ext uri="{FF2B5EF4-FFF2-40B4-BE49-F238E27FC236}">
                <a16:creationId xmlns:a16="http://schemas.microsoft.com/office/drawing/2014/main" id="{548E4C08-B2D1-411E-B657-94D129424B2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726" y="-587714"/>
            <a:ext cx="1853366" cy="2619632"/>
          </a:xfrm>
          <a:prstGeom prst="rect">
            <a:avLst/>
          </a:prstGeom>
        </p:spPr>
      </p:pic>
      <p:pic>
        <p:nvPicPr>
          <p:cNvPr id="10" name="Resim 5">
            <a:extLst>
              <a:ext uri="{FF2B5EF4-FFF2-40B4-BE49-F238E27FC236}">
                <a16:creationId xmlns:a16="http://schemas.microsoft.com/office/drawing/2014/main" id="{DBF901D4-6EF6-42C8-8DD6-96093DD87332}"/>
              </a:ext>
            </a:extLst>
          </p:cNvPr>
          <p:cNvPicPr>
            <a:picLocks noChangeAspect="1"/>
          </p:cNvPicPr>
          <p:nvPr/>
        </p:nvPicPr>
        <p:blipFill>
          <a:blip r:embed="rId7"/>
          <a:stretch>
            <a:fillRect/>
          </a:stretch>
        </p:blipFill>
        <p:spPr>
          <a:xfrm>
            <a:off x="10862275" y="197159"/>
            <a:ext cx="1056187" cy="309127"/>
          </a:xfrm>
          <a:prstGeom prst="rect">
            <a:avLst/>
          </a:prstGeom>
        </p:spPr>
      </p:pic>
      <p:pic>
        <p:nvPicPr>
          <p:cNvPr id="2" name="Resim 1">
            <a:extLst>
              <a:ext uri="{FF2B5EF4-FFF2-40B4-BE49-F238E27FC236}">
                <a16:creationId xmlns:a16="http://schemas.microsoft.com/office/drawing/2014/main" id="{BE1F7A91-097F-47DF-9BD1-70748594A0C9}"/>
              </a:ext>
            </a:extLst>
          </p:cNvPr>
          <p:cNvPicPr>
            <a:picLocks noChangeAspect="1"/>
          </p:cNvPicPr>
          <p:nvPr/>
        </p:nvPicPr>
        <p:blipFill>
          <a:blip r:embed="rId8"/>
          <a:stretch>
            <a:fillRect/>
          </a:stretch>
        </p:blipFill>
        <p:spPr>
          <a:xfrm>
            <a:off x="6052745" y="4292801"/>
            <a:ext cx="5527830" cy="2124293"/>
          </a:xfrm>
          <a:prstGeom prst="rect">
            <a:avLst/>
          </a:prstGeom>
        </p:spPr>
      </p:pic>
      <p:sp>
        <p:nvSpPr>
          <p:cNvPr id="11" name="Başlık 14">
            <a:extLst>
              <a:ext uri="{FF2B5EF4-FFF2-40B4-BE49-F238E27FC236}">
                <a16:creationId xmlns:a16="http://schemas.microsoft.com/office/drawing/2014/main" id="{6112F1BD-36AE-46E8-BAF0-9FAC32635C22}"/>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rPr>
              <a:t>Motor </a:t>
            </a:r>
            <a:r>
              <a:rPr lang="tr-TR" sz="5400" dirty="0" err="1">
                <a:solidFill>
                  <a:srgbClr val="004A85"/>
                </a:solidFill>
              </a:rPr>
              <a:t>Condition</a:t>
            </a:r>
            <a:r>
              <a:rPr lang="tr-TR" sz="5400" dirty="0">
                <a:solidFill>
                  <a:srgbClr val="004A85"/>
                </a:solidFill>
              </a:rPr>
              <a:t> </a:t>
            </a:r>
            <a:r>
              <a:rPr lang="tr-TR" sz="5400" dirty="0" err="1">
                <a:solidFill>
                  <a:srgbClr val="004A85"/>
                </a:solidFill>
              </a:rPr>
              <a:t>Monitoring</a:t>
            </a:r>
            <a:endParaRPr lang="tr-TR" sz="5400" dirty="0">
              <a:solidFill>
                <a:srgbClr val="004A85"/>
              </a:solidFill>
            </a:endParaRPr>
          </a:p>
        </p:txBody>
      </p:sp>
      <p:sp>
        <p:nvSpPr>
          <p:cNvPr id="12" name="TextBox 11">
            <a:extLst>
              <a:ext uri="{FF2B5EF4-FFF2-40B4-BE49-F238E27FC236}">
                <a16:creationId xmlns:a16="http://schemas.microsoft.com/office/drawing/2014/main" id="{DB93A463-4B81-49AE-878A-7498D8D27076}"/>
              </a:ext>
            </a:extLst>
          </p:cNvPr>
          <p:cNvSpPr txBox="1"/>
          <p:nvPr/>
        </p:nvSpPr>
        <p:spPr>
          <a:xfrm>
            <a:off x="531843" y="1313942"/>
            <a:ext cx="3638939" cy="369332"/>
          </a:xfrm>
          <a:prstGeom prst="rect">
            <a:avLst/>
          </a:prstGeom>
          <a:noFill/>
        </p:spPr>
        <p:txBody>
          <a:bodyPr wrap="square" rtlCol="0">
            <a:spAutoFit/>
          </a:bodyPr>
          <a:lstStyle/>
          <a:p>
            <a:r>
              <a:rPr lang="tr-TR" u="sng" dirty="0"/>
              <a:t>1) </a:t>
            </a:r>
            <a:r>
              <a:rPr lang="tr-TR" u="sng" dirty="0" err="1"/>
              <a:t>Artesis</a:t>
            </a:r>
            <a:r>
              <a:rPr lang="tr-TR" u="sng" dirty="0"/>
              <a:t> Sistemi</a:t>
            </a:r>
          </a:p>
        </p:txBody>
      </p:sp>
    </p:spTree>
    <p:extLst>
      <p:ext uri="{BB962C8B-B14F-4D97-AF65-F5344CB8AC3E}">
        <p14:creationId xmlns:p14="http://schemas.microsoft.com/office/powerpoint/2010/main" val="2166463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6A4F17A7-5E83-4E8A-B760-FFCF927E2B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519" y="6417094"/>
            <a:ext cx="1283363" cy="303016"/>
          </a:xfrm>
          <a:prstGeom prst="rect">
            <a:avLst/>
          </a:prstGeom>
        </p:spPr>
      </p:pic>
      <p:pic>
        <p:nvPicPr>
          <p:cNvPr id="7" name="Resim 4">
            <a:extLst>
              <a:ext uri="{FF2B5EF4-FFF2-40B4-BE49-F238E27FC236}">
                <a16:creationId xmlns:a16="http://schemas.microsoft.com/office/drawing/2014/main" id="{548E4C08-B2D1-411E-B657-94D129424B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10" name="Resim 5">
            <a:extLst>
              <a:ext uri="{FF2B5EF4-FFF2-40B4-BE49-F238E27FC236}">
                <a16:creationId xmlns:a16="http://schemas.microsoft.com/office/drawing/2014/main" id="{DBF901D4-6EF6-42C8-8DD6-96093DD87332}"/>
              </a:ext>
            </a:extLst>
          </p:cNvPr>
          <p:cNvPicPr>
            <a:picLocks noChangeAspect="1"/>
          </p:cNvPicPr>
          <p:nvPr/>
        </p:nvPicPr>
        <p:blipFill>
          <a:blip r:embed="rId5"/>
          <a:stretch>
            <a:fillRect/>
          </a:stretch>
        </p:blipFill>
        <p:spPr>
          <a:xfrm>
            <a:off x="10862275" y="197159"/>
            <a:ext cx="1056187" cy="309127"/>
          </a:xfrm>
          <a:prstGeom prst="rect">
            <a:avLst/>
          </a:prstGeom>
        </p:spPr>
      </p:pic>
      <p:sp>
        <p:nvSpPr>
          <p:cNvPr id="16" name="AutoShape 4" descr="MS3515 Online Oil Debris Monitor Specification Sheet - Gastops Ltd.">
            <a:extLst>
              <a:ext uri="{FF2B5EF4-FFF2-40B4-BE49-F238E27FC236}">
                <a16:creationId xmlns:a16="http://schemas.microsoft.com/office/drawing/2014/main" id="{FF836D0F-F720-443F-BE9C-1C128A78281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sp>
        <p:nvSpPr>
          <p:cNvPr id="4" name="Metin kutusu 3">
            <a:extLst>
              <a:ext uri="{FF2B5EF4-FFF2-40B4-BE49-F238E27FC236}">
                <a16:creationId xmlns:a16="http://schemas.microsoft.com/office/drawing/2014/main" id="{E5E994D7-71FE-4B2B-BA8D-F560731CEB3B}"/>
              </a:ext>
            </a:extLst>
          </p:cNvPr>
          <p:cNvSpPr txBox="1"/>
          <p:nvPr/>
        </p:nvSpPr>
        <p:spPr>
          <a:xfrm>
            <a:off x="540175" y="1411550"/>
            <a:ext cx="7153138" cy="1477328"/>
          </a:xfrm>
          <a:prstGeom prst="rect">
            <a:avLst/>
          </a:prstGeom>
          <a:noFill/>
        </p:spPr>
        <p:txBody>
          <a:bodyPr wrap="square" rtlCol="0">
            <a:spAutoFit/>
          </a:bodyPr>
          <a:lstStyle/>
          <a:p>
            <a:r>
              <a:rPr lang="tr-TR" dirty="0"/>
              <a:t>Güç kullanan veya ileten tüm ekipmanlar ısınırlar ve kızılötesi enerji (ısı) yayarlar. Uzaktan ölçüm cihazları olan termal kameralar nesnelerin yaymış oldukları bu görünmez kızılötesi enerjiyi (ısıyı) algılayarak elektronik sinyale dönüştürdükten sonra, kamera ekranında termal görüntü şeklinde gösterirler.</a:t>
            </a:r>
          </a:p>
        </p:txBody>
      </p:sp>
      <p:sp>
        <p:nvSpPr>
          <p:cNvPr id="23" name="Metin kutusu 22">
            <a:extLst>
              <a:ext uri="{FF2B5EF4-FFF2-40B4-BE49-F238E27FC236}">
                <a16:creationId xmlns:a16="http://schemas.microsoft.com/office/drawing/2014/main" id="{13C548F8-B418-4B6A-BB7B-02DE7D6D3D3F}"/>
              </a:ext>
            </a:extLst>
          </p:cNvPr>
          <p:cNvSpPr txBox="1"/>
          <p:nvPr/>
        </p:nvSpPr>
        <p:spPr>
          <a:xfrm>
            <a:off x="540175" y="3482465"/>
            <a:ext cx="5137212" cy="2031325"/>
          </a:xfrm>
          <a:prstGeom prst="rect">
            <a:avLst/>
          </a:prstGeom>
          <a:noFill/>
        </p:spPr>
        <p:txBody>
          <a:bodyPr wrap="square" rtlCol="0">
            <a:spAutoFit/>
          </a:bodyPr>
          <a:lstStyle/>
          <a:p>
            <a:pPr lvl="0" eaLnBrk="0" fontAlgn="base" hangingPunct="0">
              <a:spcBef>
                <a:spcPct val="0"/>
              </a:spcBef>
              <a:spcAft>
                <a:spcPct val="0"/>
              </a:spcAft>
            </a:pPr>
            <a:r>
              <a:rPr lang="tr-TR" altLang="tr-TR" sz="1400" dirty="0">
                <a:solidFill>
                  <a:srgbClr val="1B1B1B"/>
                </a:solidFill>
                <a:cs typeface="Arial" panose="020B0604020202020204" pitchFamily="34" charset="0"/>
              </a:rPr>
              <a:t>Elektrik Panoların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solidFill>
                  <a:srgbClr val="1B1B1B"/>
                </a:solidFill>
                <a:cs typeface="Arial" panose="020B0604020202020204" pitchFamily="34" charset="0"/>
              </a:rPr>
              <a:t>Transformatör, Motor ve Pompalar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solidFill>
                  <a:srgbClr val="1B1B1B"/>
                </a:solidFill>
                <a:cs typeface="Arial" panose="020B0604020202020204" pitchFamily="34" charset="0"/>
              </a:rPr>
              <a:t>Şalt Sahasın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solidFill>
                  <a:srgbClr val="1B1B1B"/>
                </a:solidFill>
                <a:cs typeface="Arial" panose="020B0604020202020204" pitchFamily="34" charset="0"/>
              </a:rPr>
              <a:t>Şalter, </a:t>
            </a:r>
            <a:r>
              <a:rPr lang="tr-TR" altLang="tr-TR" sz="1400" dirty="0" err="1">
                <a:solidFill>
                  <a:srgbClr val="1B1B1B"/>
                </a:solidFill>
                <a:cs typeface="Arial" panose="020B0604020202020204" pitchFamily="34" charset="0"/>
              </a:rPr>
              <a:t>kontaktör</a:t>
            </a:r>
            <a:r>
              <a:rPr lang="tr-TR" altLang="tr-TR" sz="1400" dirty="0">
                <a:solidFill>
                  <a:srgbClr val="1B1B1B"/>
                </a:solidFill>
                <a:cs typeface="Arial" panose="020B0604020202020204" pitchFamily="34" charset="0"/>
              </a:rPr>
              <a:t>, kesici ve sigortalar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solidFill>
                  <a:srgbClr val="1B1B1B"/>
                </a:solidFill>
                <a:cs typeface="Arial" panose="020B0604020202020204" pitchFamily="34" charset="0"/>
              </a:rPr>
              <a:t>Enerji kabloların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cs typeface="Arial" panose="020B0604020202020204" pitchFamily="34" charset="0"/>
              </a:rPr>
              <a:t>Pano İçinde Termal Kamera Kullanımı</a:t>
            </a:r>
          </a:p>
          <a:p>
            <a:pPr lvl="0" eaLnBrk="0" fontAlgn="base" hangingPunct="0">
              <a:spcBef>
                <a:spcPct val="0"/>
              </a:spcBef>
              <a:spcAft>
                <a:spcPct val="0"/>
              </a:spcAft>
            </a:pPr>
            <a:r>
              <a:rPr lang="tr-TR" altLang="tr-TR" sz="1400" dirty="0">
                <a:solidFill>
                  <a:srgbClr val="1B1B1B"/>
                </a:solidFill>
                <a:cs typeface="Arial" panose="020B0604020202020204" pitchFamily="34" charset="0"/>
              </a:rPr>
              <a:t>Buhar hatları ve vanalar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solidFill>
                  <a:srgbClr val="1B1B1B"/>
                </a:solidFill>
                <a:cs typeface="Arial" panose="020B0604020202020204" pitchFamily="34" charset="0"/>
              </a:rPr>
              <a:t>Motor yataklarında</a:t>
            </a:r>
            <a:endParaRPr lang="tr-TR" altLang="tr-TR" sz="1400" dirty="0">
              <a:cs typeface="Arial" panose="020B0604020202020204" pitchFamily="34" charset="0"/>
            </a:endParaRPr>
          </a:p>
          <a:p>
            <a:pPr lvl="0" eaLnBrk="0" fontAlgn="base" hangingPunct="0">
              <a:spcBef>
                <a:spcPct val="0"/>
              </a:spcBef>
              <a:spcAft>
                <a:spcPct val="0"/>
              </a:spcAft>
            </a:pPr>
            <a:r>
              <a:rPr lang="tr-TR" altLang="tr-TR" sz="1400" dirty="0">
                <a:solidFill>
                  <a:srgbClr val="1B1B1B"/>
                </a:solidFill>
                <a:cs typeface="Arial" panose="020B0604020202020204" pitchFamily="34" charset="0"/>
              </a:rPr>
              <a:t>Fırın yüzeylerindeki aşırı sıcak noktaların tespitinde kullanılmaktadır</a:t>
            </a:r>
            <a:endParaRPr lang="tr-TR" altLang="tr-TR" sz="1400" dirty="0">
              <a:cs typeface="Arial" panose="020B0604020202020204" pitchFamily="34" charset="0"/>
            </a:endParaRPr>
          </a:p>
        </p:txBody>
      </p:sp>
      <p:sp>
        <p:nvSpPr>
          <p:cNvPr id="24" name="Rectangle 4">
            <a:extLst>
              <a:ext uri="{FF2B5EF4-FFF2-40B4-BE49-F238E27FC236}">
                <a16:creationId xmlns:a16="http://schemas.microsoft.com/office/drawing/2014/main" id="{AF17B3CD-1EE2-442A-99FC-D94C41636E82}"/>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tr-TR" altLang="tr-TR" sz="1800" b="0" i="0" u="none" strike="noStrike" cap="none" normalizeH="0" baseline="0" dirty="0">
              <a:ln>
                <a:noFill/>
              </a:ln>
              <a:solidFill>
                <a:schemeClr val="tx1"/>
              </a:solidFill>
              <a:effectLst/>
              <a:latin typeface="Arial" panose="020B0604020202020204" pitchFamily="34" charset="0"/>
            </a:endParaRPr>
          </a:p>
        </p:txBody>
      </p:sp>
      <p:sp>
        <p:nvSpPr>
          <p:cNvPr id="25" name="AutoShape 5" descr="termal kamera, termal, termal görüntüleme, yalıtım, topraklama, paratoner, parafudr, elektrik tesisat kontrolü, elektrik tesisat muayenesi, enerji yönetciliği, enerji kimlik belgesi, altenerji, alt enerji, altenerji.co, altenerji.com">
            <a:extLst>
              <a:ext uri="{FF2B5EF4-FFF2-40B4-BE49-F238E27FC236}">
                <a16:creationId xmlns:a16="http://schemas.microsoft.com/office/drawing/2014/main" id="{F670C483-1F8F-4F2C-96C1-57D882E38792}"/>
              </a:ext>
            </a:extLst>
          </p:cNvPr>
          <p:cNvSpPr>
            <a:spLocks noChangeAspect="1" noChangeArrowheads="1"/>
          </p:cNvSpPr>
          <p:nvPr/>
        </p:nvSpPr>
        <p:spPr bwMode="auto">
          <a:xfrm>
            <a:off x="155575" y="-88106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sp>
        <p:nvSpPr>
          <p:cNvPr id="26" name="AutoShape 6" descr="termal kamera, termal, termal görüntüleme, yalıtım, topraklama, paratoner, parafudr, elektrik tesisat kontrolü, elektrik tesisat muayenesi, enerji yönetciliği, enerji kimlik belgesi, altenerji, alt enerji, altenerji.co, altenerji.com">
            <a:extLst>
              <a:ext uri="{FF2B5EF4-FFF2-40B4-BE49-F238E27FC236}">
                <a16:creationId xmlns:a16="http://schemas.microsoft.com/office/drawing/2014/main" id="{CABBCB90-B5B2-45C3-96BE-F272381C4430}"/>
              </a:ext>
            </a:extLst>
          </p:cNvPr>
          <p:cNvSpPr>
            <a:spLocks noChangeAspect="1" noChangeArrowheads="1"/>
          </p:cNvSpPr>
          <p:nvPr/>
        </p:nvSpPr>
        <p:spPr bwMode="auto">
          <a:xfrm>
            <a:off x="155575" y="13811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pic>
        <p:nvPicPr>
          <p:cNvPr id="27" name="Resim 26">
            <a:extLst>
              <a:ext uri="{FF2B5EF4-FFF2-40B4-BE49-F238E27FC236}">
                <a16:creationId xmlns:a16="http://schemas.microsoft.com/office/drawing/2014/main" id="{9B5C9C28-155A-43FF-AE04-787E8CE94BDD}"/>
              </a:ext>
            </a:extLst>
          </p:cNvPr>
          <p:cNvPicPr>
            <a:picLocks noChangeAspect="1"/>
          </p:cNvPicPr>
          <p:nvPr/>
        </p:nvPicPr>
        <p:blipFill>
          <a:blip r:embed="rId6"/>
          <a:stretch>
            <a:fillRect/>
          </a:stretch>
        </p:blipFill>
        <p:spPr>
          <a:xfrm>
            <a:off x="7711069" y="1411550"/>
            <a:ext cx="2729226" cy="1774395"/>
          </a:xfrm>
          <a:prstGeom prst="rect">
            <a:avLst/>
          </a:prstGeom>
        </p:spPr>
      </p:pic>
      <p:pic>
        <p:nvPicPr>
          <p:cNvPr id="28" name="Resim 27">
            <a:extLst>
              <a:ext uri="{FF2B5EF4-FFF2-40B4-BE49-F238E27FC236}">
                <a16:creationId xmlns:a16="http://schemas.microsoft.com/office/drawing/2014/main" id="{3F1F796D-A3ED-48B9-8E0C-F8260A09361D}"/>
              </a:ext>
            </a:extLst>
          </p:cNvPr>
          <p:cNvPicPr>
            <a:picLocks noChangeAspect="1"/>
          </p:cNvPicPr>
          <p:nvPr/>
        </p:nvPicPr>
        <p:blipFill>
          <a:blip r:embed="rId7"/>
          <a:stretch>
            <a:fillRect/>
          </a:stretch>
        </p:blipFill>
        <p:spPr>
          <a:xfrm>
            <a:off x="5242903" y="3482465"/>
            <a:ext cx="2450410" cy="1571497"/>
          </a:xfrm>
          <a:prstGeom prst="rect">
            <a:avLst/>
          </a:prstGeom>
        </p:spPr>
      </p:pic>
      <p:sp>
        <p:nvSpPr>
          <p:cNvPr id="15" name="Başlık 14">
            <a:extLst>
              <a:ext uri="{FF2B5EF4-FFF2-40B4-BE49-F238E27FC236}">
                <a16:creationId xmlns:a16="http://schemas.microsoft.com/office/drawing/2014/main" id="{A5293B90-A151-4AF1-B96E-B71FBCCF7988}"/>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5400" dirty="0">
                <a:solidFill>
                  <a:srgbClr val="004A85"/>
                </a:solidFill>
              </a:rPr>
              <a:t>Termal Kamera</a:t>
            </a:r>
          </a:p>
        </p:txBody>
      </p:sp>
    </p:spTree>
    <p:extLst>
      <p:ext uri="{BB962C8B-B14F-4D97-AF65-F5344CB8AC3E}">
        <p14:creationId xmlns:p14="http://schemas.microsoft.com/office/powerpoint/2010/main" val="25628340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aşlık 14">
            <a:extLst>
              <a:ext uri="{FF2B5EF4-FFF2-40B4-BE49-F238E27FC236}">
                <a16:creationId xmlns:a16="http://schemas.microsoft.com/office/drawing/2014/main" id="{AB9030DD-D2A7-4F27-B7A1-52948C0E56B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tr-TR" sz="5400" dirty="0">
                <a:solidFill>
                  <a:srgbClr val="0070C0"/>
                </a:solidFill>
              </a:rPr>
              <a:t>Gelecek Sistemler</a:t>
            </a:r>
          </a:p>
        </p:txBody>
      </p:sp>
      <p:pic>
        <p:nvPicPr>
          <p:cNvPr id="6" name="Resim 4">
            <a:extLst>
              <a:ext uri="{FF2B5EF4-FFF2-40B4-BE49-F238E27FC236}">
                <a16:creationId xmlns:a16="http://schemas.microsoft.com/office/drawing/2014/main" id="{7D17EAB3-C27C-47B9-825C-4C8985B038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7" name="Resim 5">
            <a:extLst>
              <a:ext uri="{FF2B5EF4-FFF2-40B4-BE49-F238E27FC236}">
                <a16:creationId xmlns:a16="http://schemas.microsoft.com/office/drawing/2014/main" id="{F8BA8454-33C5-47F5-B303-DB2AE07DF89A}"/>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12" name="Resim 6">
            <a:extLst>
              <a:ext uri="{FF2B5EF4-FFF2-40B4-BE49-F238E27FC236}">
                <a16:creationId xmlns:a16="http://schemas.microsoft.com/office/drawing/2014/main" id="{E0EA0BFA-6B15-4D7C-9E3B-CB46A13AD0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2" name="TextBox 1">
            <a:extLst>
              <a:ext uri="{FF2B5EF4-FFF2-40B4-BE49-F238E27FC236}">
                <a16:creationId xmlns:a16="http://schemas.microsoft.com/office/drawing/2014/main" id="{0BCD64DA-B029-4BF3-8609-A88E6333663B}"/>
              </a:ext>
            </a:extLst>
          </p:cNvPr>
          <p:cNvSpPr txBox="1"/>
          <p:nvPr/>
        </p:nvSpPr>
        <p:spPr>
          <a:xfrm>
            <a:off x="531843" y="1313942"/>
            <a:ext cx="4537997" cy="369332"/>
          </a:xfrm>
          <a:prstGeom prst="rect">
            <a:avLst/>
          </a:prstGeom>
          <a:noFill/>
        </p:spPr>
        <p:txBody>
          <a:bodyPr wrap="square" rtlCol="0">
            <a:spAutoFit/>
          </a:bodyPr>
          <a:lstStyle/>
          <a:p>
            <a:r>
              <a:rPr lang="tr-TR" u="sng" dirty="0"/>
              <a:t>1) Online Titreşim Ölçüm ve Analizleri</a:t>
            </a:r>
          </a:p>
        </p:txBody>
      </p:sp>
      <p:sp>
        <p:nvSpPr>
          <p:cNvPr id="13" name="TextBox 12">
            <a:extLst>
              <a:ext uri="{FF2B5EF4-FFF2-40B4-BE49-F238E27FC236}">
                <a16:creationId xmlns:a16="http://schemas.microsoft.com/office/drawing/2014/main" id="{41E2AACA-CF93-4C2F-93C3-C956F11CCD96}"/>
              </a:ext>
            </a:extLst>
          </p:cNvPr>
          <p:cNvSpPr txBox="1"/>
          <p:nvPr/>
        </p:nvSpPr>
        <p:spPr>
          <a:xfrm>
            <a:off x="531842" y="1670349"/>
            <a:ext cx="10674221" cy="1200329"/>
          </a:xfrm>
          <a:prstGeom prst="rect">
            <a:avLst/>
          </a:prstGeom>
          <a:noFill/>
        </p:spPr>
        <p:txBody>
          <a:bodyPr wrap="square" rtlCol="0">
            <a:spAutoFit/>
          </a:bodyPr>
          <a:lstStyle/>
          <a:p>
            <a:pPr marL="285750" indent="-285750">
              <a:buFont typeface="Arial" panose="020B0604020202020204" pitchFamily="34" charset="0"/>
              <a:buChar char="•"/>
            </a:pPr>
            <a:r>
              <a:rPr lang="tr-TR" dirty="0"/>
              <a:t>Online olarak izlenebilir durumda olan titreşim datalarının kullanılmasını amaçlamaktadır. </a:t>
            </a:r>
          </a:p>
          <a:p>
            <a:pPr marL="285750" indent="-285750">
              <a:buFont typeface="Arial" panose="020B0604020202020204" pitchFamily="34" charset="0"/>
              <a:buChar char="•"/>
            </a:pPr>
            <a:r>
              <a:rPr lang="tr-TR" dirty="0"/>
              <a:t>Bu dataların detaylı spektrum, </a:t>
            </a:r>
            <a:r>
              <a:rPr lang="tr-TR" dirty="0" err="1"/>
              <a:t>orbit</a:t>
            </a:r>
            <a:r>
              <a:rPr lang="tr-TR" dirty="0"/>
              <a:t>, </a:t>
            </a:r>
            <a:r>
              <a:rPr lang="tr-TR" dirty="0" err="1"/>
              <a:t>centerline</a:t>
            </a:r>
            <a:r>
              <a:rPr lang="tr-TR" dirty="0"/>
              <a:t> analizlerinin yapılabileceği programların kullanılarak </a:t>
            </a:r>
            <a:r>
              <a:rPr lang="tr-TR" dirty="0" err="1"/>
              <a:t>Turbomachinery</a:t>
            </a:r>
            <a:r>
              <a:rPr lang="tr-TR" dirty="0"/>
              <a:t> analizleri yapılabilecektir. </a:t>
            </a:r>
          </a:p>
          <a:p>
            <a:pPr marL="285750" indent="-285750">
              <a:buFont typeface="Arial" panose="020B0604020202020204" pitchFamily="34" charset="0"/>
              <a:buChar char="•"/>
            </a:pPr>
            <a:endParaRPr lang="tr-TR" dirty="0"/>
          </a:p>
        </p:txBody>
      </p:sp>
      <p:grpSp>
        <p:nvGrpSpPr>
          <p:cNvPr id="22" name="Group 21">
            <a:extLst>
              <a:ext uri="{FF2B5EF4-FFF2-40B4-BE49-F238E27FC236}">
                <a16:creationId xmlns:a16="http://schemas.microsoft.com/office/drawing/2014/main" id="{E9E60EE8-7AFA-4ED8-A0B5-A13553150579}"/>
              </a:ext>
            </a:extLst>
          </p:cNvPr>
          <p:cNvGrpSpPr/>
          <p:nvPr/>
        </p:nvGrpSpPr>
        <p:grpSpPr>
          <a:xfrm>
            <a:off x="1167596" y="3084905"/>
            <a:ext cx="9860169" cy="3625740"/>
            <a:chOff x="1125325" y="2991756"/>
            <a:chExt cx="9856806" cy="3649841"/>
          </a:xfrm>
        </p:grpSpPr>
        <p:pic>
          <p:nvPicPr>
            <p:cNvPr id="3" name="Picture 2">
              <a:extLst>
                <a:ext uri="{FF2B5EF4-FFF2-40B4-BE49-F238E27FC236}">
                  <a16:creationId xmlns:a16="http://schemas.microsoft.com/office/drawing/2014/main" id="{08A98427-E7D4-4362-9645-664755CF287F}"/>
                </a:ext>
              </a:extLst>
            </p:cNvPr>
            <p:cNvPicPr>
              <a:picLocks noChangeAspect="1"/>
            </p:cNvPicPr>
            <p:nvPr/>
          </p:nvPicPr>
          <p:blipFill>
            <a:blip r:embed="rId5"/>
            <a:stretch>
              <a:fillRect/>
            </a:stretch>
          </p:blipFill>
          <p:spPr>
            <a:xfrm>
              <a:off x="1125325" y="3607579"/>
              <a:ext cx="4174464" cy="3034018"/>
            </a:xfrm>
            <a:prstGeom prst="rect">
              <a:avLst/>
            </a:prstGeom>
          </p:spPr>
        </p:pic>
        <p:cxnSp>
          <p:nvCxnSpPr>
            <p:cNvPr id="5" name="Straight Arrow Connector 4">
              <a:extLst>
                <a:ext uri="{FF2B5EF4-FFF2-40B4-BE49-F238E27FC236}">
                  <a16:creationId xmlns:a16="http://schemas.microsoft.com/office/drawing/2014/main" id="{4B38BBE5-BF87-4B63-9263-0D9B73A7813A}"/>
                </a:ext>
              </a:extLst>
            </p:cNvPr>
            <p:cNvCxnSpPr>
              <a:cxnSpLocks/>
            </p:cNvCxnSpPr>
            <p:nvPr/>
          </p:nvCxnSpPr>
          <p:spPr>
            <a:xfrm flipV="1">
              <a:off x="2911151" y="3237218"/>
              <a:ext cx="0" cy="37036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560CFCF-6AA4-4D03-BAC9-FBC5A883D2E6}"/>
                </a:ext>
              </a:extLst>
            </p:cNvPr>
            <p:cNvCxnSpPr>
              <a:cxnSpLocks/>
            </p:cNvCxnSpPr>
            <p:nvPr/>
          </p:nvCxnSpPr>
          <p:spPr>
            <a:xfrm>
              <a:off x="2911151" y="3237218"/>
              <a:ext cx="335902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9F5FABB7-212A-4941-8754-E170F7CE291A}"/>
                </a:ext>
              </a:extLst>
            </p:cNvPr>
            <p:cNvPicPr>
              <a:picLocks noChangeAspect="1"/>
            </p:cNvPicPr>
            <p:nvPr/>
          </p:nvPicPr>
          <p:blipFill>
            <a:blip r:embed="rId6"/>
            <a:stretch>
              <a:fillRect/>
            </a:stretch>
          </p:blipFill>
          <p:spPr>
            <a:xfrm>
              <a:off x="6389036" y="3313834"/>
              <a:ext cx="4593095" cy="1952512"/>
            </a:xfrm>
            <a:prstGeom prst="rect">
              <a:avLst/>
            </a:prstGeom>
          </p:spPr>
        </p:pic>
        <p:sp>
          <p:nvSpPr>
            <p:cNvPr id="19" name="TextBox 18">
              <a:extLst>
                <a:ext uri="{FF2B5EF4-FFF2-40B4-BE49-F238E27FC236}">
                  <a16:creationId xmlns:a16="http://schemas.microsoft.com/office/drawing/2014/main" id="{292AF65B-A8A0-46DF-B5C6-C29FB13A7C80}"/>
                </a:ext>
              </a:extLst>
            </p:cNvPr>
            <p:cNvSpPr txBox="1"/>
            <p:nvPr/>
          </p:nvSpPr>
          <p:spPr>
            <a:xfrm>
              <a:off x="7993530" y="2991756"/>
              <a:ext cx="2608646" cy="371787"/>
            </a:xfrm>
            <a:prstGeom prst="rect">
              <a:avLst/>
            </a:prstGeom>
            <a:noFill/>
          </p:spPr>
          <p:txBody>
            <a:bodyPr wrap="square" rtlCol="0">
              <a:spAutoFit/>
            </a:bodyPr>
            <a:lstStyle/>
            <a:p>
              <a:r>
                <a:rPr lang="tr-TR" b="1" dirty="0" err="1">
                  <a:solidFill>
                    <a:srgbClr val="0070C0"/>
                  </a:solidFill>
                </a:rPr>
                <a:t>Diagnostic</a:t>
              </a:r>
              <a:r>
                <a:rPr lang="tr-TR" b="1" dirty="0">
                  <a:solidFill>
                    <a:srgbClr val="0070C0"/>
                  </a:solidFill>
                </a:rPr>
                <a:t> Software</a:t>
              </a:r>
            </a:p>
          </p:txBody>
        </p:sp>
        <p:cxnSp>
          <p:nvCxnSpPr>
            <p:cNvPr id="21" name="Connector: Elbow 20">
              <a:extLst>
                <a:ext uri="{FF2B5EF4-FFF2-40B4-BE49-F238E27FC236}">
                  <a16:creationId xmlns:a16="http://schemas.microsoft.com/office/drawing/2014/main" id="{AE802641-FE01-4D54-917D-B9708A5737DE}"/>
                </a:ext>
              </a:extLst>
            </p:cNvPr>
            <p:cNvCxnSpPr>
              <a:stCxn id="18" idx="2"/>
            </p:cNvCxnSpPr>
            <p:nvPr/>
          </p:nvCxnSpPr>
          <p:spPr>
            <a:xfrm rot="5400000">
              <a:off x="6626068" y="3781446"/>
              <a:ext cx="574617" cy="354441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grpSp>
      <p:pic>
        <p:nvPicPr>
          <p:cNvPr id="16" name="Grafik 7">
            <a:extLst>
              <a:ext uri="{FF2B5EF4-FFF2-40B4-BE49-F238E27FC236}">
                <a16:creationId xmlns:a16="http://schemas.microsoft.com/office/drawing/2014/main" id="{5FF54C3E-50F3-4930-BA81-29C038CA1B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39259121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aşlık 14">
            <a:extLst>
              <a:ext uri="{FF2B5EF4-FFF2-40B4-BE49-F238E27FC236}">
                <a16:creationId xmlns:a16="http://schemas.microsoft.com/office/drawing/2014/main" id="{AB9030DD-D2A7-4F27-B7A1-52948C0E56B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tr-TR" sz="5400" dirty="0">
                <a:solidFill>
                  <a:srgbClr val="0070C0"/>
                </a:solidFill>
              </a:rPr>
              <a:t>Gelecek Sistemler</a:t>
            </a:r>
          </a:p>
        </p:txBody>
      </p:sp>
      <p:pic>
        <p:nvPicPr>
          <p:cNvPr id="6" name="Resim 4">
            <a:extLst>
              <a:ext uri="{FF2B5EF4-FFF2-40B4-BE49-F238E27FC236}">
                <a16:creationId xmlns:a16="http://schemas.microsoft.com/office/drawing/2014/main" id="{7D17EAB3-C27C-47B9-825C-4C8985B038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7" name="Resim 5">
            <a:extLst>
              <a:ext uri="{FF2B5EF4-FFF2-40B4-BE49-F238E27FC236}">
                <a16:creationId xmlns:a16="http://schemas.microsoft.com/office/drawing/2014/main" id="{F8BA8454-33C5-47F5-B303-DB2AE07DF89A}"/>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12" name="Resim 6">
            <a:extLst>
              <a:ext uri="{FF2B5EF4-FFF2-40B4-BE49-F238E27FC236}">
                <a16:creationId xmlns:a16="http://schemas.microsoft.com/office/drawing/2014/main" id="{E0EA0BFA-6B15-4D7C-9E3B-CB46A13AD0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2" name="TextBox 1">
            <a:extLst>
              <a:ext uri="{FF2B5EF4-FFF2-40B4-BE49-F238E27FC236}">
                <a16:creationId xmlns:a16="http://schemas.microsoft.com/office/drawing/2014/main" id="{0BCD64DA-B029-4BF3-8609-A88E6333663B}"/>
              </a:ext>
            </a:extLst>
          </p:cNvPr>
          <p:cNvSpPr txBox="1"/>
          <p:nvPr/>
        </p:nvSpPr>
        <p:spPr>
          <a:xfrm>
            <a:off x="430726" y="1287483"/>
            <a:ext cx="3638939" cy="646331"/>
          </a:xfrm>
          <a:prstGeom prst="rect">
            <a:avLst/>
          </a:prstGeom>
          <a:noFill/>
        </p:spPr>
        <p:txBody>
          <a:bodyPr wrap="square" rtlCol="0">
            <a:spAutoFit/>
          </a:bodyPr>
          <a:lstStyle/>
          <a:p>
            <a:r>
              <a:rPr lang="tr-TR" dirty="0"/>
              <a:t>2) Motion </a:t>
            </a:r>
            <a:r>
              <a:rPr lang="tr-TR" dirty="0" err="1"/>
              <a:t>Amplification</a:t>
            </a:r>
            <a:r>
              <a:rPr lang="tr-TR" dirty="0"/>
              <a:t> Kamera</a:t>
            </a:r>
          </a:p>
          <a:p>
            <a:endParaRPr lang="tr-TR" dirty="0"/>
          </a:p>
        </p:txBody>
      </p:sp>
      <p:sp>
        <p:nvSpPr>
          <p:cNvPr id="13" name="TextBox 12">
            <a:extLst>
              <a:ext uri="{FF2B5EF4-FFF2-40B4-BE49-F238E27FC236}">
                <a16:creationId xmlns:a16="http://schemas.microsoft.com/office/drawing/2014/main" id="{41E2AACA-CF93-4C2F-93C3-C956F11CCD96}"/>
              </a:ext>
            </a:extLst>
          </p:cNvPr>
          <p:cNvSpPr txBox="1"/>
          <p:nvPr/>
        </p:nvSpPr>
        <p:spPr>
          <a:xfrm>
            <a:off x="530469" y="1741180"/>
            <a:ext cx="2836509" cy="2031325"/>
          </a:xfrm>
          <a:prstGeom prst="rect">
            <a:avLst/>
          </a:prstGeom>
          <a:noFill/>
        </p:spPr>
        <p:txBody>
          <a:bodyPr wrap="square" rtlCol="0">
            <a:spAutoFit/>
          </a:bodyPr>
          <a:lstStyle/>
          <a:p>
            <a:pPr marL="285750" indent="-285750">
              <a:buFont typeface="Arial" panose="020B0604020202020204" pitchFamily="34" charset="0"/>
              <a:buChar char="•"/>
            </a:pPr>
            <a:r>
              <a:rPr lang="tr-TR" dirty="0"/>
              <a:t>Temassız bir yöntem olarak yapısal ve düşük frekanslardaki problemlerin bulunması ve </a:t>
            </a:r>
            <a:r>
              <a:rPr lang="tr-TR" dirty="0" err="1"/>
              <a:t>adreslenmesi</a:t>
            </a:r>
            <a:r>
              <a:rPr lang="tr-TR" dirty="0"/>
              <a:t> için kullanılabilir. </a:t>
            </a:r>
          </a:p>
          <a:p>
            <a:pPr marL="285750" indent="-285750">
              <a:buFont typeface="Arial" panose="020B0604020202020204" pitchFamily="34" charset="0"/>
              <a:buChar char="•"/>
            </a:pPr>
            <a:endParaRPr lang="tr-TR" dirty="0"/>
          </a:p>
        </p:txBody>
      </p:sp>
      <p:pic>
        <p:nvPicPr>
          <p:cNvPr id="14" name="Picture 13">
            <a:extLst>
              <a:ext uri="{FF2B5EF4-FFF2-40B4-BE49-F238E27FC236}">
                <a16:creationId xmlns:a16="http://schemas.microsoft.com/office/drawing/2014/main" id="{AE15D1AC-C8BC-30A2-DE46-A22AB5C3ECDB}"/>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1430" y="4288573"/>
            <a:ext cx="2035400" cy="2035400"/>
          </a:xfrm>
          <a:prstGeom prst="rect">
            <a:avLst/>
          </a:prstGeom>
        </p:spPr>
      </p:pic>
      <p:pic>
        <p:nvPicPr>
          <p:cNvPr id="11" name="Grafik 7">
            <a:extLst>
              <a:ext uri="{FF2B5EF4-FFF2-40B4-BE49-F238E27FC236}">
                <a16:creationId xmlns:a16="http://schemas.microsoft.com/office/drawing/2014/main" id="{1EC73CF0-3C43-4B97-9559-8722860A7A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27" y="6287609"/>
            <a:ext cx="1283363" cy="303016"/>
          </a:xfrm>
          <a:prstGeom prst="rect">
            <a:avLst/>
          </a:prstGeom>
        </p:spPr>
      </p:pic>
      <p:pic>
        <p:nvPicPr>
          <p:cNvPr id="3" name="Resim 2">
            <a:extLst>
              <a:ext uri="{FF2B5EF4-FFF2-40B4-BE49-F238E27FC236}">
                <a16:creationId xmlns:a16="http://schemas.microsoft.com/office/drawing/2014/main" id="{320ECC28-394A-41B8-AE8A-600F796D7672}"/>
              </a:ext>
            </a:extLst>
          </p:cNvPr>
          <p:cNvPicPr>
            <a:picLocks noChangeAspect="1"/>
          </p:cNvPicPr>
          <p:nvPr/>
        </p:nvPicPr>
        <p:blipFill>
          <a:blip r:embed="rId8"/>
          <a:stretch>
            <a:fillRect/>
          </a:stretch>
        </p:blipFill>
        <p:spPr>
          <a:xfrm>
            <a:off x="3803162" y="1428039"/>
            <a:ext cx="8115300" cy="4552950"/>
          </a:xfrm>
          <a:prstGeom prst="rect">
            <a:avLst/>
          </a:prstGeom>
        </p:spPr>
      </p:pic>
    </p:spTree>
    <p:extLst>
      <p:ext uri="{BB962C8B-B14F-4D97-AF65-F5344CB8AC3E}">
        <p14:creationId xmlns:p14="http://schemas.microsoft.com/office/powerpoint/2010/main" val="331024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sp>
        <p:nvSpPr>
          <p:cNvPr id="13" name="Dikdörtgen 12">
            <a:extLst>
              <a:ext uri="{FF2B5EF4-FFF2-40B4-BE49-F238E27FC236}">
                <a16:creationId xmlns:a16="http://schemas.microsoft.com/office/drawing/2014/main" id="{25B6A411-EC51-4470-9F79-EC98AE404E53}"/>
              </a:ext>
            </a:extLst>
          </p:cNvPr>
          <p:cNvSpPr/>
          <p:nvPr/>
        </p:nvSpPr>
        <p:spPr>
          <a:xfrm>
            <a:off x="640848" y="1292551"/>
            <a:ext cx="4790799" cy="523220"/>
          </a:xfrm>
          <a:prstGeom prst="rect">
            <a:avLst/>
          </a:prstGeom>
        </p:spPr>
        <p:txBody>
          <a:bodyPr wrap="none">
            <a:spAutoFit/>
          </a:bodyPr>
          <a:lstStyle/>
          <a:p>
            <a:r>
              <a:rPr lang="tr-TR" sz="2800" b="1" dirty="0"/>
              <a:t>SOCAR </a:t>
            </a:r>
            <a:r>
              <a:rPr lang="tr-TR" sz="2800" b="1" dirty="0" err="1"/>
              <a:t>Kestirimci</a:t>
            </a:r>
            <a:r>
              <a:rPr lang="tr-TR" sz="2800" b="1" dirty="0"/>
              <a:t> Bakım Grubu</a:t>
            </a:r>
          </a:p>
        </p:txBody>
      </p:sp>
      <p:sp>
        <p:nvSpPr>
          <p:cNvPr id="14" name="Dikdörtgen 13">
            <a:extLst>
              <a:ext uri="{FF2B5EF4-FFF2-40B4-BE49-F238E27FC236}">
                <a16:creationId xmlns:a16="http://schemas.microsoft.com/office/drawing/2014/main" id="{0E605D5A-8FF6-4CFD-AE3A-818CFEBDA18C}"/>
              </a:ext>
            </a:extLst>
          </p:cNvPr>
          <p:cNvSpPr/>
          <p:nvPr/>
        </p:nvSpPr>
        <p:spPr>
          <a:xfrm>
            <a:off x="640848" y="1985661"/>
            <a:ext cx="8223233" cy="2246769"/>
          </a:xfrm>
          <a:prstGeom prst="rect">
            <a:avLst/>
          </a:prstGeom>
        </p:spPr>
        <p:txBody>
          <a:bodyPr wrap="square">
            <a:spAutoFit/>
          </a:bodyPr>
          <a:lstStyle/>
          <a:p>
            <a:pPr marL="285750" indent="-285750">
              <a:buFont typeface="Arial" panose="020B0604020202020204" pitchFamily="34" charset="0"/>
              <a:buChar char="•"/>
            </a:pPr>
            <a:r>
              <a:rPr lang="tr-TR" sz="2800" dirty="0"/>
              <a:t>Özgür KALKANLI - </a:t>
            </a:r>
            <a:r>
              <a:rPr lang="tr-TR" sz="2800" dirty="0" err="1"/>
              <a:t>Kestirimci</a:t>
            </a:r>
            <a:r>
              <a:rPr lang="tr-TR" sz="2800" dirty="0"/>
              <a:t> Bakım Baş Mühendisi</a:t>
            </a:r>
          </a:p>
          <a:p>
            <a:pPr marL="285750" indent="-285750">
              <a:buFont typeface="Arial" panose="020B0604020202020204" pitchFamily="34" charset="0"/>
              <a:buChar char="•"/>
            </a:pPr>
            <a:endParaRPr lang="tr-TR" sz="2800" dirty="0"/>
          </a:p>
          <a:p>
            <a:pPr marL="285750" indent="-285750">
              <a:buFont typeface="Arial" panose="020B0604020202020204" pitchFamily="34" charset="0"/>
              <a:buChar char="•"/>
            </a:pPr>
            <a:r>
              <a:rPr lang="tr-TR" sz="2800" dirty="0"/>
              <a:t>Emre EROĞLU - </a:t>
            </a:r>
            <a:r>
              <a:rPr lang="tr-TR" sz="2800" dirty="0" err="1"/>
              <a:t>Kestirimci</a:t>
            </a:r>
            <a:r>
              <a:rPr lang="tr-TR" sz="2800" dirty="0"/>
              <a:t> Bakım Şef Mühendisi </a:t>
            </a:r>
          </a:p>
          <a:p>
            <a:endParaRPr lang="tr-TR" sz="2800" dirty="0"/>
          </a:p>
          <a:p>
            <a:pPr marL="285750" indent="-285750">
              <a:buFont typeface="Arial" panose="020B0604020202020204" pitchFamily="34" charset="0"/>
              <a:buChar char="•"/>
            </a:pPr>
            <a:r>
              <a:rPr lang="tr-TR" sz="2800" dirty="0"/>
              <a:t>Erim BALABAN - </a:t>
            </a:r>
            <a:r>
              <a:rPr lang="tr-TR" sz="2800" dirty="0" err="1"/>
              <a:t>Kestirimci</a:t>
            </a:r>
            <a:r>
              <a:rPr lang="tr-TR" sz="2800" dirty="0"/>
              <a:t> Bakım Şef Mühendisi </a:t>
            </a:r>
          </a:p>
        </p:txBody>
      </p:sp>
      <p:pic>
        <p:nvPicPr>
          <p:cNvPr id="8" name="Grafik 7">
            <a:extLst>
              <a:ext uri="{FF2B5EF4-FFF2-40B4-BE49-F238E27FC236}">
                <a16:creationId xmlns:a16="http://schemas.microsoft.com/office/drawing/2014/main" id="{C664D4AC-ACFD-47BE-8A90-C19ADABA13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27" y="6287609"/>
            <a:ext cx="1283363" cy="303016"/>
          </a:xfrm>
          <a:prstGeom prst="rect">
            <a:avLst/>
          </a:prstGeom>
        </p:spPr>
      </p:pic>
      <p:pic>
        <p:nvPicPr>
          <p:cNvPr id="9" name="Picture 8">
            <a:extLst>
              <a:ext uri="{FF2B5EF4-FFF2-40B4-BE49-F238E27FC236}">
                <a16:creationId xmlns:a16="http://schemas.microsoft.com/office/drawing/2014/main" id="{6C29DB60-1473-441F-AA93-B9FAEA6B4904}"/>
              </a:ext>
            </a:extLst>
          </p:cNvPr>
          <p:cNvPicPr>
            <a:picLocks noChangeAspect="1"/>
          </p:cNvPicPr>
          <p:nvPr/>
        </p:nvPicPr>
        <p:blipFill rotWithShape="1">
          <a:blip r:embed="rId8"/>
          <a:srcRect b="11377"/>
          <a:stretch/>
        </p:blipFill>
        <p:spPr>
          <a:xfrm>
            <a:off x="8270777" y="1238844"/>
            <a:ext cx="3647685" cy="3491313"/>
          </a:xfrm>
          <a:prstGeom prst="rect">
            <a:avLst/>
          </a:prstGeom>
        </p:spPr>
      </p:pic>
    </p:spTree>
    <p:extLst>
      <p:ext uri="{BB962C8B-B14F-4D97-AF65-F5344CB8AC3E}">
        <p14:creationId xmlns:p14="http://schemas.microsoft.com/office/powerpoint/2010/main" val="39437553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kdörtgen 4">
            <a:extLst>
              <a:ext uri="{FF2B5EF4-FFF2-40B4-BE49-F238E27FC236}">
                <a16:creationId xmlns:a16="http://schemas.microsoft.com/office/drawing/2014/main" id="{C5D83ECA-9B75-4F57-99E4-3AD4C7A49FB2}"/>
              </a:ext>
            </a:extLst>
          </p:cNvPr>
          <p:cNvSpPr/>
          <p:nvPr/>
        </p:nvSpPr>
        <p:spPr>
          <a:xfrm>
            <a:off x="572910" y="1868755"/>
            <a:ext cx="4758401" cy="1200329"/>
          </a:xfrm>
          <a:prstGeom prst="rect">
            <a:avLst/>
          </a:prstGeom>
        </p:spPr>
        <p:txBody>
          <a:bodyPr wrap="square">
            <a:spAutoFit/>
          </a:bodyPr>
          <a:lstStyle/>
          <a:p>
            <a:r>
              <a:rPr lang="tr-TR" dirty="0"/>
              <a:t>Yağların dinamik viskozitesini, yoğunluğunu, </a:t>
            </a:r>
            <a:r>
              <a:rPr lang="tr-TR" dirty="0" err="1"/>
              <a:t>dielektrik</a:t>
            </a:r>
            <a:r>
              <a:rPr lang="tr-TR" dirty="0"/>
              <a:t> sabitini, direncini (</a:t>
            </a:r>
            <a:r>
              <a:rPr lang="tr-TR" dirty="0" err="1"/>
              <a:t>Rp</a:t>
            </a:r>
            <a:r>
              <a:rPr lang="tr-TR" dirty="0"/>
              <a:t>) ve sıcaklığı gibi parametreleri  doğrudan aynı anda ölçen yağ durumu izleme </a:t>
            </a:r>
            <a:r>
              <a:rPr lang="tr-TR" dirty="0" err="1"/>
              <a:t>sensörü</a:t>
            </a:r>
            <a:r>
              <a:rPr lang="tr-TR" dirty="0"/>
              <a:t> kullanımı</a:t>
            </a:r>
          </a:p>
        </p:txBody>
      </p:sp>
      <p:pic>
        <p:nvPicPr>
          <p:cNvPr id="9" name="Grafik 8">
            <a:extLst>
              <a:ext uri="{FF2B5EF4-FFF2-40B4-BE49-F238E27FC236}">
                <a16:creationId xmlns:a16="http://schemas.microsoft.com/office/drawing/2014/main" id="{6A4F17A7-5E83-4E8A-B760-FFCF927E2B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519" y="6417094"/>
            <a:ext cx="1283363" cy="303016"/>
          </a:xfrm>
          <a:prstGeom prst="rect">
            <a:avLst/>
          </a:prstGeom>
        </p:spPr>
      </p:pic>
      <p:pic>
        <p:nvPicPr>
          <p:cNvPr id="7" name="Resim 4">
            <a:extLst>
              <a:ext uri="{FF2B5EF4-FFF2-40B4-BE49-F238E27FC236}">
                <a16:creationId xmlns:a16="http://schemas.microsoft.com/office/drawing/2014/main" id="{548E4C08-B2D1-411E-B657-94D129424B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10" name="Resim 5">
            <a:extLst>
              <a:ext uri="{FF2B5EF4-FFF2-40B4-BE49-F238E27FC236}">
                <a16:creationId xmlns:a16="http://schemas.microsoft.com/office/drawing/2014/main" id="{DBF901D4-6EF6-42C8-8DD6-96093DD87332}"/>
              </a:ext>
            </a:extLst>
          </p:cNvPr>
          <p:cNvPicPr>
            <a:picLocks noChangeAspect="1"/>
          </p:cNvPicPr>
          <p:nvPr/>
        </p:nvPicPr>
        <p:blipFill>
          <a:blip r:embed="rId5"/>
          <a:stretch>
            <a:fillRect/>
          </a:stretch>
        </p:blipFill>
        <p:spPr>
          <a:xfrm>
            <a:off x="10862275" y="197159"/>
            <a:ext cx="1056187" cy="309127"/>
          </a:xfrm>
          <a:prstGeom prst="rect">
            <a:avLst/>
          </a:prstGeom>
        </p:spPr>
      </p:pic>
      <p:pic>
        <p:nvPicPr>
          <p:cNvPr id="2" name="Resim 1">
            <a:extLst>
              <a:ext uri="{FF2B5EF4-FFF2-40B4-BE49-F238E27FC236}">
                <a16:creationId xmlns:a16="http://schemas.microsoft.com/office/drawing/2014/main" id="{A948C0E3-46EB-46E5-87BA-E1B35BC49885}"/>
              </a:ext>
            </a:extLst>
          </p:cNvPr>
          <p:cNvPicPr>
            <a:picLocks noChangeAspect="1"/>
          </p:cNvPicPr>
          <p:nvPr/>
        </p:nvPicPr>
        <p:blipFill>
          <a:blip r:embed="rId6"/>
          <a:stretch>
            <a:fillRect/>
          </a:stretch>
        </p:blipFill>
        <p:spPr>
          <a:xfrm>
            <a:off x="6164662" y="874589"/>
            <a:ext cx="2028825" cy="1628775"/>
          </a:xfrm>
          <a:prstGeom prst="rect">
            <a:avLst/>
          </a:prstGeom>
        </p:spPr>
      </p:pic>
      <p:pic>
        <p:nvPicPr>
          <p:cNvPr id="3" name="Resim 2">
            <a:extLst>
              <a:ext uri="{FF2B5EF4-FFF2-40B4-BE49-F238E27FC236}">
                <a16:creationId xmlns:a16="http://schemas.microsoft.com/office/drawing/2014/main" id="{1DA3F31F-A9A7-4CB5-BC66-0C44B8C7D259}"/>
              </a:ext>
            </a:extLst>
          </p:cNvPr>
          <p:cNvPicPr>
            <a:picLocks noChangeAspect="1"/>
          </p:cNvPicPr>
          <p:nvPr/>
        </p:nvPicPr>
        <p:blipFill>
          <a:blip r:embed="rId7"/>
          <a:stretch>
            <a:fillRect/>
          </a:stretch>
        </p:blipFill>
        <p:spPr>
          <a:xfrm>
            <a:off x="1549925" y="3409499"/>
            <a:ext cx="2291191" cy="1445118"/>
          </a:xfrm>
          <a:prstGeom prst="rect">
            <a:avLst/>
          </a:prstGeom>
        </p:spPr>
      </p:pic>
      <p:pic>
        <p:nvPicPr>
          <p:cNvPr id="13" name="Resim 12">
            <a:extLst>
              <a:ext uri="{FF2B5EF4-FFF2-40B4-BE49-F238E27FC236}">
                <a16:creationId xmlns:a16="http://schemas.microsoft.com/office/drawing/2014/main" id="{1AD09040-273C-44AE-A571-8A458B251C89}"/>
              </a:ext>
            </a:extLst>
          </p:cNvPr>
          <p:cNvPicPr>
            <a:picLocks noChangeAspect="1"/>
          </p:cNvPicPr>
          <p:nvPr/>
        </p:nvPicPr>
        <p:blipFill>
          <a:blip r:embed="rId8"/>
          <a:stretch>
            <a:fillRect/>
          </a:stretch>
        </p:blipFill>
        <p:spPr>
          <a:xfrm>
            <a:off x="1853366" y="5179034"/>
            <a:ext cx="2552700" cy="1238060"/>
          </a:xfrm>
          <a:prstGeom prst="rect">
            <a:avLst/>
          </a:prstGeom>
        </p:spPr>
      </p:pic>
      <p:pic>
        <p:nvPicPr>
          <p:cNvPr id="14" name="Resim 13">
            <a:extLst>
              <a:ext uri="{FF2B5EF4-FFF2-40B4-BE49-F238E27FC236}">
                <a16:creationId xmlns:a16="http://schemas.microsoft.com/office/drawing/2014/main" id="{6EC7B89F-81D4-4C7A-8F46-34EBFCA73159}"/>
              </a:ext>
            </a:extLst>
          </p:cNvPr>
          <p:cNvPicPr>
            <a:picLocks noChangeAspect="1"/>
          </p:cNvPicPr>
          <p:nvPr/>
        </p:nvPicPr>
        <p:blipFill>
          <a:blip r:embed="rId9"/>
          <a:stretch>
            <a:fillRect/>
          </a:stretch>
        </p:blipFill>
        <p:spPr>
          <a:xfrm>
            <a:off x="7937454" y="3409499"/>
            <a:ext cx="1438549" cy="1445118"/>
          </a:xfrm>
          <a:prstGeom prst="rect">
            <a:avLst/>
          </a:prstGeom>
        </p:spPr>
      </p:pic>
      <p:pic>
        <p:nvPicPr>
          <p:cNvPr id="15" name="Resim 14">
            <a:extLst>
              <a:ext uri="{FF2B5EF4-FFF2-40B4-BE49-F238E27FC236}">
                <a16:creationId xmlns:a16="http://schemas.microsoft.com/office/drawing/2014/main" id="{B5C7C32E-0E97-4EFF-A8D1-618EEAF1B477}"/>
              </a:ext>
            </a:extLst>
          </p:cNvPr>
          <p:cNvPicPr>
            <a:picLocks noChangeAspect="1"/>
          </p:cNvPicPr>
          <p:nvPr/>
        </p:nvPicPr>
        <p:blipFill>
          <a:blip r:embed="rId10"/>
          <a:stretch>
            <a:fillRect/>
          </a:stretch>
        </p:blipFill>
        <p:spPr>
          <a:xfrm>
            <a:off x="5124513" y="5081128"/>
            <a:ext cx="1755288" cy="1169401"/>
          </a:xfrm>
          <a:prstGeom prst="rect">
            <a:avLst/>
          </a:prstGeom>
        </p:spPr>
      </p:pic>
      <p:sp>
        <p:nvSpPr>
          <p:cNvPr id="16" name="AutoShape 4" descr="MS3515 Online Oil Debris Monitor Specification Sheet - Gastops Ltd.">
            <a:extLst>
              <a:ext uri="{FF2B5EF4-FFF2-40B4-BE49-F238E27FC236}">
                <a16:creationId xmlns:a16="http://schemas.microsoft.com/office/drawing/2014/main" id="{FF836D0F-F720-443F-BE9C-1C128A78281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pic>
        <p:nvPicPr>
          <p:cNvPr id="17" name="Resim 16">
            <a:extLst>
              <a:ext uri="{FF2B5EF4-FFF2-40B4-BE49-F238E27FC236}">
                <a16:creationId xmlns:a16="http://schemas.microsoft.com/office/drawing/2014/main" id="{B4AFBC9F-5EB4-4994-9D87-2BAA6073D4C0}"/>
              </a:ext>
            </a:extLst>
          </p:cNvPr>
          <p:cNvPicPr>
            <a:picLocks noChangeAspect="1"/>
          </p:cNvPicPr>
          <p:nvPr/>
        </p:nvPicPr>
        <p:blipFill>
          <a:blip r:embed="rId11"/>
          <a:stretch>
            <a:fillRect/>
          </a:stretch>
        </p:blipFill>
        <p:spPr>
          <a:xfrm>
            <a:off x="8250633" y="5402982"/>
            <a:ext cx="1382650" cy="894402"/>
          </a:xfrm>
          <a:prstGeom prst="rect">
            <a:avLst/>
          </a:prstGeom>
        </p:spPr>
      </p:pic>
      <p:pic>
        <p:nvPicPr>
          <p:cNvPr id="18" name="Resim 17">
            <a:extLst>
              <a:ext uri="{FF2B5EF4-FFF2-40B4-BE49-F238E27FC236}">
                <a16:creationId xmlns:a16="http://schemas.microsoft.com/office/drawing/2014/main" id="{C325784B-E890-494A-8257-A3214319B10E}"/>
              </a:ext>
            </a:extLst>
          </p:cNvPr>
          <p:cNvPicPr>
            <a:picLocks noChangeAspect="1"/>
          </p:cNvPicPr>
          <p:nvPr/>
        </p:nvPicPr>
        <p:blipFill>
          <a:blip r:embed="rId12"/>
          <a:stretch>
            <a:fillRect/>
          </a:stretch>
        </p:blipFill>
        <p:spPr>
          <a:xfrm>
            <a:off x="9860188" y="1513266"/>
            <a:ext cx="1406242" cy="1530933"/>
          </a:xfrm>
          <a:prstGeom prst="rect">
            <a:avLst/>
          </a:prstGeom>
        </p:spPr>
      </p:pic>
      <p:pic>
        <p:nvPicPr>
          <p:cNvPr id="19" name="Resim 18">
            <a:extLst>
              <a:ext uri="{FF2B5EF4-FFF2-40B4-BE49-F238E27FC236}">
                <a16:creationId xmlns:a16="http://schemas.microsoft.com/office/drawing/2014/main" id="{359BED3E-56FE-432A-A3D7-1ACB417CD09B}"/>
              </a:ext>
            </a:extLst>
          </p:cNvPr>
          <p:cNvPicPr>
            <a:picLocks noChangeAspect="1"/>
          </p:cNvPicPr>
          <p:nvPr/>
        </p:nvPicPr>
        <p:blipFill>
          <a:blip r:embed="rId13"/>
          <a:stretch>
            <a:fillRect/>
          </a:stretch>
        </p:blipFill>
        <p:spPr>
          <a:xfrm>
            <a:off x="4788014" y="3393501"/>
            <a:ext cx="1811416" cy="1211315"/>
          </a:xfrm>
          <a:prstGeom prst="rect">
            <a:avLst/>
          </a:prstGeom>
        </p:spPr>
      </p:pic>
      <p:sp>
        <p:nvSpPr>
          <p:cNvPr id="21" name="TextBox 20">
            <a:extLst>
              <a:ext uri="{FF2B5EF4-FFF2-40B4-BE49-F238E27FC236}">
                <a16:creationId xmlns:a16="http://schemas.microsoft.com/office/drawing/2014/main" id="{D9C2F344-FBE5-41C1-9FFC-99D59FAEE8D1}"/>
              </a:ext>
            </a:extLst>
          </p:cNvPr>
          <p:cNvSpPr txBox="1"/>
          <p:nvPr/>
        </p:nvSpPr>
        <p:spPr>
          <a:xfrm>
            <a:off x="531843" y="1313942"/>
            <a:ext cx="3638939" cy="369332"/>
          </a:xfrm>
          <a:prstGeom prst="rect">
            <a:avLst/>
          </a:prstGeom>
          <a:noFill/>
        </p:spPr>
        <p:txBody>
          <a:bodyPr wrap="square" rtlCol="0">
            <a:spAutoFit/>
          </a:bodyPr>
          <a:lstStyle/>
          <a:p>
            <a:r>
              <a:rPr lang="tr-TR" u="sng" dirty="0"/>
              <a:t>3) Online Yağ Analizi</a:t>
            </a:r>
          </a:p>
        </p:txBody>
      </p:sp>
      <p:sp>
        <p:nvSpPr>
          <p:cNvPr id="22" name="Başlık 14">
            <a:extLst>
              <a:ext uri="{FF2B5EF4-FFF2-40B4-BE49-F238E27FC236}">
                <a16:creationId xmlns:a16="http://schemas.microsoft.com/office/drawing/2014/main" id="{0668C15E-E2DA-4EBA-AD4C-C3291407CC60}"/>
              </a:ext>
            </a:extLst>
          </p:cNvPr>
          <p:cNvSpPr txBox="1">
            <a:spLocks/>
          </p:cNvSpPr>
          <p:nvPr/>
        </p:nvSpPr>
        <p:spPr>
          <a:xfrm>
            <a:off x="2128919" y="584286"/>
            <a:ext cx="9860169" cy="651656"/>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tr-TR" sz="5400" dirty="0">
                <a:solidFill>
                  <a:srgbClr val="0070C0"/>
                </a:solidFill>
              </a:rPr>
              <a:t>Gelecek Sistemler</a:t>
            </a:r>
          </a:p>
        </p:txBody>
      </p:sp>
    </p:spTree>
    <p:extLst>
      <p:ext uri="{BB962C8B-B14F-4D97-AF65-F5344CB8AC3E}">
        <p14:creationId xmlns:p14="http://schemas.microsoft.com/office/powerpoint/2010/main" val="17683328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9" name="Picture 4" descr="C:\Users\okalkanli\Desktop\yarımada16x9.jpg">
            <a:extLst>
              <a:ext uri="{FF2B5EF4-FFF2-40B4-BE49-F238E27FC236}">
                <a16:creationId xmlns:a16="http://schemas.microsoft.com/office/drawing/2014/main" id="{007648FB-E5A4-40CA-A6F5-3EEF20E25C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7777" y="640861"/>
            <a:ext cx="9599614" cy="5276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7">
            <a:extLst>
              <a:ext uri="{FF2B5EF4-FFF2-40B4-BE49-F238E27FC236}">
                <a16:creationId xmlns:a16="http://schemas.microsoft.com/office/drawing/2014/main" id="{6CD60FFB-2FDD-4E98-A948-438E0275C7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519" y="6417094"/>
            <a:ext cx="1283363" cy="303016"/>
          </a:xfrm>
          <a:prstGeom prst="rect">
            <a:avLst/>
          </a:prstGeom>
        </p:spPr>
      </p:pic>
    </p:spTree>
    <p:extLst>
      <p:ext uri="{BB962C8B-B14F-4D97-AF65-F5344CB8AC3E}">
        <p14:creationId xmlns:p14="http://schemas.microsoft.com/office/powerpoint/2010/main" val="7929141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esim 8" descr="metin, kişi, kask içeren bir resim&#10;&#10;Açıklama otomatik olarak oluşturuldu">
            <a:extLst>
              <a:ext uri="{FF2B5EF4-FFF2-40B4-BE49-F238E27FC236}">
                <a16:creationId xmlns:a16="http://schemas.microsoft.com/office/drawing/2014/main" id="{BC3E2CC6-6E8D-A747-D2F5-6FDBFAA025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Resim 13">
            <a:extLst>
              <a:ext uri="{FF2B5EF4-FFF2-40B4-BE49-F238E27FC236}">
                <a16:creationId xmlns:a16="http://schemas.microsoft.com/office/drawing/2014/main" id="{06525AE6-99F1-9EC7-5DEF-5CF00262D1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82533" y="208864"/>
            <a:ext cx="1354095" cy="479973"/>
          </a:xfrm>
          <a:prstGeom prst="rect">
            <a:avLst/>
          </a:prstGeom>
        </p:spPr>
      </p:pic>
    </p:spTree>
    <p:extLst>
      <p:ext uri="{BB962C8B-B14F-4D97-AF65-F5344CB8AC3E}">
        <p14:creationId xmlns:p14="http://schemas.microsoft.com/office/powerpoint/2010/main" val="2787271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10" name="Picture 5" descr="HakkÄ±mÄ±zda_SOCAR-TOWER">
            <a:extLst>
              <a:ext uri="{FF2B5EF4-FFF2-40B4-BE49-F238E27FC236}">
                <a16:creationId xmlns:a16="http://schemas.microsoft.com/office/drawing/2014/main" id="{EB6979FD-6547-4F15-9F46-3ACFB0F7E6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6683" y="1553970"/>
            <a:ext cx="3343202" cy="4613620"/>
          </a:xfrm>
          <a:prstGeom prst="rect">
            <a:avLst/>
          </a:prstGeom>
          <a:noFill/>
          <a:extLst>
            <a:ext uri="{909E8E84-426E-40DD-AFC4-6F175D3DCCD1}">
              <a14:hiddenFill xmlns:a14="http://schemas.microsoft.com/office/drawing/2010/main">
                <a:solidFill>
                  <a:srgbClr val="FFFFFF"/>
                </a:solidFill>
              </a14:hiddenFill>
            </a:ext>
          </a:extLst>
        </p:spPr>
      </p:pic>
      <p:sp>
        <p:nvSpPr>
          <p:cNvPr id="13" name="Dikdörtgen 12">
            <a:extLst>
              <a:ext uri="{FF2B5EF4-FFF2-40B4-BE49-F238E27FC236}">
                <a16:creationId xmlns:a16="http://schemas.microsoft.com/office/drawing/2014/main" id="{25B6A411-EC51-4470-9F79-EC98AE404E53}"/>
              </a:ext>
            </a:extLst>
          </p:cNvPr>
          <p:cNvSpPr/>
          <p:nvPr/>
        </p:nvSpPr>
        <p:spPr>
          <a:xfrm>
            <a:off x="5338597" y="1152671"/>
            <a:ext cx="4951355" cy="461665"/>
          </a:xfrm>
          <a:prstGeom prst="rect">
            <a:avLst/>
          </a:prstGeom>
        </p:spPr>
        <p:txBody>
          <a:bodyPr wrap="none">
            <a:spAutoFit/>
          </a:bodyPr>
          <a:lstStyle/>
          <a:p>
            <a:r>
              <a:rPr lang="tr-TR" sz="2400" b="1" dirty="0"/>
              <a:t>SOCAR Global - Uluslararası Gücümüz</a:t>
            </a:r>
          </a:p>
        </p:txBody>
      </p:sp>
      <p:sp>
        <p:nvSpPr>
          <p:cNvPr id="14" name="Dikdörtgen 13">
            <a:extLst>
              <a:ext uri="{FF2B5EF4-FFF2-40B4-BE49-F238E27FC236}">
                <a16:creationId xmlns:a16="http://schemas.microsoft.com/office/drawing/2014/main" id="{0E605D5A-8FF6-4CFD-AE3A-818CFEBDA18C}"/>
              </a:ext>
            </a:extLst>
          </p:cNvPr>
          <p:cNvSpPr/>
          <p:nvPr/>
        </p:nvSpPr>
        <p:spPr>
          <a:xfrm>
            <a:off x="4766274" y="1919677"/>
            <a:ext cx="6096000" cy="3785652"/>
          </a:xfrm>
          <a:prstGeom prst="rect">
            <a:avLst/>
          </a:prstGeom>
        </p:spPr>
        <p:txBody>
          <a:bodyPr>
            <a:spAutoFit/>
          </a:bodyPr>
          <a:lstStyle/>
          <a:p>
            <a:pPr marL="285750" indent="-285750">
              <a:buFont typeface="Arial" panose="020B0604020202020204" pitchFamily="34" charset="0"/>
              <a:buChar char="•"/>
            </a:pPr>
            <a:r>
              <a:rPr lang="tr-TR" sz="2000" dirty="0"/>
              <a:t>1992 yılında kurulan Azerbaycan Cumhuriyeti Devlet Petrol Şirketi - SOCAR, Azerbaycan'ın kaynaklarını tüm Dünya’ya sunmaktadır.</a:t>
            </a:r>
          </a:p>
          <a:p>
            <a:pPr marL="285750" indent="-285750">
              <a:buFont typeface="Arial" panose="020B0604020202020204" pitchFamily="34" charset="0"/>
              <a:buChar char="•"/>
            </a:pPr>
            <a:r>
              <a:rPr lang="tr-TR" sz="2000" dirty="0"/>
              <a:t>Entegre çözümler sunan bir enerji şirketi olarak SOCAR, petrol ve gazla ilgili çeşitli faaliyetlerde bulunmaktadır.</a:t>
            </a:r>
          </a:p>
          <a:p>
            <a:pPr marL="285750" indent="-285750">
              <a:buFont typeface="Arial" panose="020B0604020202020204" pitchFamily="34" charset="0"/>
              <a:buChar char="•"/>
            </a:pPr>
            <a:r>
              <a:rPr lang="tr-TR" sz="2000" dirty="0"/>
              <a:t>6 kilit stratejik sektör arasında petrokimya, rafineri, lojistik, doğal gaz, enerji ve fiber teknolojileri yer alıyor.</a:t>
            </a:r>
          </a:p>
          <a:p>
            <a:pPr marL="285750" indent="-285750">
              <a:buFont typeface="Arial" panose="020B0604020202020204" pitchFamily="34" charset="0"/>
              <a:buChar char="•"/>
            </a:pPr>
            <a:r>
              <a:rPr lang="tr-TR" sz="2000" dirty="0"/>
              <a:t>Dünya çapında projeler yürüten </a:t>
            </a:r>
            <a:r>
              <a:rPr lang="tr-TR" sz="2000" dirty="0" err="1"/>
              <a:t>SOCAR'ın</a:t>
            </a:r>
            <a:r>
              <a:rPr lang="tr-TR" sz="2000" dirty="0"/>
              <a:t> son ve en önemli projesi toplam değeri 20 milyar ABD doları ile Türkiye'dedir.</a:t>
            </a:r>
          </a:p>
        </p:txBody>
      </p:sp>
      <p:pic>
        <p:nvPicPr>
          <p:cNvPr id="8" name="Grafik 7">
            <a:extLst>
              <a:ext uri="{FF2B5EF4-FFF2-40B4-BE49-F238E27FC236}">
                <a16:creationId xmlns:a16="http://schemas.microsoft.com/office/drawing/2014/main" id="{C664D4AC-ACFD-47BE-8A90-C19ADABA13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2527166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358199" y="6858000"/>
            <a:ext cx="12192000" cy="147355"/>
          </a:xfrm>
          <a:prstGeom prst="rect">
            <a:avLst/>
          </a:prstGeom>
        </p:spPr>
      </p:pic>
      <p:grpSp>
        <p:nvGrpSpPr>
          <p:cNvPr id="114" name="Group 1">
            <a:extLst>
              <a:ext uri="{FF2B5EF4-FFF2-40B4-BE49-F238E27FC236}">
                <a16:creationId xmlns:a16="http://schemas.microsoft.com/office/drawing/2014/main" id="{1D85CCD3-065F-4672-BE32-D21EC686C0BA}"/>
              </a:ext>
            </a:extLst>
          </p:cNvPr>
          <p:cNvGrpSpPr/>
          <p:nvPr/>
        </p:nvGrpSpPr>
        <p:grpSpPr>
          <a:xfrm>
            <a:off x="1007627" y="811245"/>
            <a:ext cx="10176746" cy="5056685"/>
            <a:chOff x="169560" y="23980"/>
            <a:chExt cx="11045370" cy="7796902"/>
          </a:xfrm>
        </p:grpSpPr>
        <p:sp>
          <p:nvSpPr>
            <p:cNvPr id="115" name="Title 4">
              <a:extLst>
                <a:ext uri="{FF2B5EF4-FFF2-40B4-BE49-F238E27FC236}">
                  <a16:creationId xmlns:a16="http://schemas.microsoft.com/office/drawing/2014/main" id="{1D0C62EF-2F5A-4D1D-ACBC-07104A8DB03C}"/>
                </a:ext>
              </a:extLst>
            </p:cNvPr>
            <p:cNvSpPr txBox="1">
              <a:spLocks/>
            </p:cNvSpPr>
            <p:nvPr/>
          </p:nvSpPr>
          <p:spPr>
            <a:xfrm>
              <a:off x="169560" y="23980"/>
              <a:ext cx="11045370" cy="452557"/>
            </a:xfrm>
            <a:prstGeom prst="rect">
              <a:avLst/>
            </a:prstGeom>
          </p:spPr>
          <p:txBody>
            <a:bodyPr/>
            <a:lstStyle>
              <a:lvl1pPr algn="ctr" defTabSz="1236177" rtl="0" eaLnBrk="1" latinLnBrk="0" hangingPunct="1">
                <a:spcBef>
                  <a:spcPct val="0"/>
                </a:spcBef>
                <a:buNone/>
                <a:defRPr sz="5900" kern="1200">
                  <a:solidFill>
                    <a:schemeClr val="tx1"/>
                  </a:solidFill>
                  <a:latin typeface="+mj-lt"/>
                  <a:ea typeface="+mj-ea"/>
                  <a:cs typeface="+mj-cs"/>
                </a:defRPr>
              </a:lvl1pPr>
            </a:lstStyle>
            <a:p>
              <a:r>
                <a:rPr lang="en-US" sz="3200" dirty="0">
                  <a:latin typeface="Calibri" panose="020F0502020204030204" pitchFamily="34" charset="0"/>
                  <a:cs typeface="Calibri" panose="020F0502020204030204" pitchFamily="34" charset="0"/>
                </a:rPr>
                <a:t>SOCAR Gr</a:t>
              </a:r>
              <a:r>
                <a:rPr lang="tr-TR" sz="3200" dirty="0" err="1">
                  <a:latin typeface="Calibri" panose="020F0502020204030204" pitchFamily="34" charset="0"/>
                  <a:cs typeface="Calibri" panose="020F0502020204030204" pitchFamily="34" charset="0"/>
                </a:rPr>
                <a:t>up</a:t>
              </a:r>
              <a:r>
                <a:rPr lang="tr-TR" sz="3200" dirty="0">
                  <a:latin typeface="Calibri" panose="020F0502020204030204" pitchFamily="34" charset="0"/>
                  <a:cs typeface="Calibri" panose="020F0502020204030204" pitchFamily="34" charset="0"/>
                </a:rPr>
                <a:t> Aktiviteleri</a:t>
              </a:r>
              <a:endParaRPr lang="en-US" sz="3200" dirty="0">
                <a:solidFill>
                  <a:srgbClr val="FF0000"/>
                </a:solidFill>
                <a:latin typeface="Calibri" panose="020F0502020204030204" pitchFamily="34" charset="0"/>
                <a:cs typeface="Calibri" panose="020F0502020204030204" pitchFamily="34" charset="0"/>
              </a:endParaRPr>
            </a:p>
          </p:txBody>
        </p:sp>
        <p:grpSp>
          <p:nvGrpSpPr>
            <p:cNvPr id="116" name="Group 138">
              <a:extLst>
                <a:ext uri="{FF2B5EF4-FFF2-40B4-BE49-F238E27FC236}">
                  <a16:creationId xmlns:a16="http://schemas.microsoft.com/office/drawing/2014/main" id="{A8C6FCD7-A111-4E1A-991B-0754F54F1858}"/>
                </a:ext>
              </a:extLst>
            </p:cNvPr>
            <p:cNvGrpSpPr>
              <a:grpSpLocks/>
            </p:cNvGrpSpPr>
            <p:nvPr/>
          </p:nvGrpSpPr>
          <p:grpSpPr bwMode="auto">
            <a:xfrm>
              <a:off x="2047833" y="990601"/>
              <a:ext cx="8096343" cy="5699898"/>
              <a:chOff x="538" y="563"/>
              <a:chExt cx="4592" cy="3233"/>
            </a:xfrm>
            <a:solidFill>
              <a:schemeClr val="accent1">
                <a:alpha val="38000"/>
              </a:schemeClr>
            </a:solidFill>
          </p:grpSpPr>
          <p:sp>
            <p:nvSpPr>
              <p:cNvPr id="132" name="Freeform 5">
                <a:extLst>
                  <a:ext uri="{FF2B5EF4-FFF2-40B4-BE49-F238E27FC236}">
                    <a16:creationId xmlns:a16="http://schemas.microsoft.com/office/drawing/2014/main" id="{2C61AEBA-4B20-4D55-92B1-E0CC69B04B39}"/>
                  </a:ext>
                </a:extLst>
              </p:cNvPr>
              <p:cNvSpPr>
                <a:spLocks/>
              </p:cNvSpPr>
              <p:nvPr/>
            </p:nvSpPr>
            <p:spPr bwMode="gray">
              <a:xfrm>
                <a:off x="1378" y="3692"/>
                <a:ext cx="40" cy="26"/>
              </a:xfrm>
              <a:custGeom>
                <a:avLst/>
                <a:gdLst>
                  <a:gd name="T0" fmla="*/ 29 w 81"/>
                  <a:gd name="T1" fmla="*/ 0 h 52"/>
                  <a:gd name="T2" fmla="*/ 0 w 81"/>
                  <a:gd name="T3" fmla="*/ 29 h 52"/>
                  <a:gd name="T4" fmla="*/ 29 w 81"/>
                  <a:gd name="T5" fmla="*/ 52 h 52"/>
                  <a:gd name="T6" fmla="*/ 52 w 81"/>
                  <a:gd name="T7" fmla="*/ 52 h 52"/>
                  <a:gd name="T8" fmla="*/ 52 w 81"/>
                  <a:gd name="T9" fmla="*/ 29 h 52"/>
                  <a:gd name="T10" fmla="*/ 81 w 81"/>
                  <a:gd name="T11" fmla="*/ 29 h 52"/>
                  <a:gd name="T12" fmla="*/ 52 w 81"/>
                  <a:gd name="T13" fmla="*/ 0 h 52"/>
                  <a:gd name="T14" fmla="*/ 29 w 81"/>
                  <a:gd name="T15" fmla="*/ 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52">
                    <a:moveTo>
                      <a:pt x="29" y="0"/>
                    </a:moveTo>
                    <a:lnTo>
                      <a:pt x="0" y="29"/>
                    </a:lnTo>
                    <a:lnTo>
                      <a:pt x="29" y="52"/>
                    </a:lnTo>
                    <a:lnTo>
                      <a:pt x="52" y="52"/>
                    </a:lnTo>
                    <a:lnTo>
                      <a:pt x="52" y="29"/>
                    </a:lnTo>
                    <a:lnTo>
                      <a:pt x="81" y="29"/>
                    </a:lnTo>
                    <a:lnTo>
                      <a:pt x="52" y="0"/>
                    </a:lnTo>
                    <a:lnTo>
                      <a:pt x="29" y="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3" name="Freeform 6">
                <a:extLst>
                  <a:ext uri="{FF2B5EF4-FFF2-40B4-BE49-F238E27FC236}">
                    <a16:creationId xmlns:a16="http://schemas.microsoft.com/office/drawing/2014/main" id="{9E3E28AD-94C7-4F86-9675-92C0882017A7}"/>
                  </a:ext>
                </a:extLst>
              </p:cNvPr>
              <p:cNvSpPr>
                <a:spLocks/>
              </p:cNvSpPr>
              <p:nvPr/>
            </p:nvSpPr>
            <p:spPr bwMode="gray">
              <a:xfrm>
                <a:off x="1274" y="3744"/>
                <a:ext cx="78" cy="52"/>
              </a:xfrm>
              <a:custGeom>
                <a:avLst/>
                <a:gdLst>
                  <a:gd name="T0" fmla="*/ 104 w 156"/>
                  <a:gd name="T1" fmla="*/ 51 h 103"/>
                  <a:gd name="T2" fmla="*/ 79 w 156"/>
                  <a:gd name="T3" fmla="*/ 0 h 103"/>
                  <a:gd name="T4" fmla="*/ 52 w 156"/>
                  <a:gd name="T5" fmla="*/ 0 h 103"/>
                  <a:gd name="T6" fmla="*/ 23 w 156"/>
                  <a:gd name="T7" fmla="*/ 28 h 103"/>
                  <a:gd name="T8" fmla="*/ 23 w 156"/>
                  <a:gd name="T9" fmla="*/ 51 h 103"/>
                  <a:gd name="T10" fmla="*/ 0 w 156"/>
                  <a:gd name="T11" fmla="*/ 51 h 103"/>
                  <a:gd name="T12" fmla="*/ 0 w 156"/>
                  <a:gd name="T13" fmla="*/ 80 h 103"/>
                  <a:gd name="T14" fmla="*/ 23 w 156"/>
                  <a:gd name="T15" fmla="*/ 80 h 103"/>
                  <a:gd name="T16" fmla="*/ 52 w 156"/>
                  <a:gd name="T17" fmla="*/ 103 h 103"/>
                  <a:gd name="T18" fmla="*/ 79 w 156"/>
                  <a:gd name="T19" fmla="*/ 103 h 103"/>
                  <a:gd name="T20" fmla="*/ 104 w 156"/>
                  <a:gd name="T21" fmla="*/ 103 h 103"/>
                  <a:gd name="T22" fmla="*/ 156 w 156"/>
                  <a:gd name="T23" fmla="*/ 103 h 103"/>
                  <a:gd name="T24" fmla="*/ 127 w 156"/>
                  <a:gd name="T25" fmla="*/ 80 h 103"/>
                  <a:gd name="T26" fmla="*/ 104 w 156"/>
                  <a:gd name="T27"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103">
                    <a:moveTo>
                      <a:pt x="104" y="51"/>
                    </a:moveTo>
                    <a:lnTo>
                      <a:pt x="79" y="0"/>
                    </a:lnTo>
                    <a:lnTo>
                      <a:pt x="52" y="0"/>
                    </a:lnTo>
                    <a:lnTo>
                      <a:pt x="23" y="28"/>
                    </a:lnTo>
                    <a:lnTo>
                      <a:pt x="23" y="51"/>
                    </a:lnTo>
                    <a:lnTo>
                      <a:pt x="0" y="51"/>
                    </a:lnTo>
                    <a:lnTo>
                      <a:pt x="0" y="80"/>
                    </a:lnTo>
                    <a:lnTo>
                      <a:pt x="23" y="80"/>
                    </a:lnTo>
                    <a:lnTo>
                      <a:pt x="52" y="103"/>
                    </a:lnTo>
                    <a:lnTo>
                      <a:pt x="79" y="103"/>
                    </a:lnTo>
                    <a:lnTo>
                      <a:pt x="104" y="103"/>
                    </a:lnTo>
                    <a:lnTo>
                      <a:pt x="156" y="103"/>
                    </a:lnTo>
                    <a:lnTo>
                      <a:pt x="127" y="80"/>
                    </a:lnTo>
                    <a:lnTo>
                      <a:pt x="104" y="51"/>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4" name="Freeform 7">
                <a:extLst>
                  <a:ext uri="{FF2B5EF4-FFF2-40B4-BE49-F238E27FC236}">
                    <a16:creationId xmlns:a16="http://schemas.microsoft.com/office/drawing/2014/main" id="{174F5765-A2EC-45A4-864A-0676A5B5D06F}"/>
                  </a:ext>
                </a:extLst>
              </p:cNvPr>
              <p:cNvSpPr>
                <a:spLocks/>
              </p:cNvSpPr>
              <p:nvPr/>
            </p:nvSpPr>
            <p:spPr bwMode="gray">
              <a:xfrm>
                <a:off x="1118" y="2563"/>
                <a:ext cx="845" cy="1181"/>
              </a:xfrm>
              <a:custGeom>
                <a:avLst/>
                <a:gdLst>
                  <a:gd name="T0" fmla="*/ 806 w 845"/>
                  <a:gd name="T1" fmla="*/ 390 h 1181"/>
                  <a:gd name="T2" fmla="*/ 741 w 845"/>
                  <a:gd name="T3" fmla="*/ 350 h 1181"/>
                  <a:gd name="T4" fmla="*/ 689 w 845"/>
                  <a:gd name="T5" fmla="*/ 324 h 1181"/>
                  <a:gd name="T6" fmla="*/ 664 w 845"/>
                  <a:gd name="T7" fmla="*/ 297 h 1181"/>
                  <a:gd name="T8" fmla="*/ 586 w 845"/>
                  <a:gd name="T9" fmla="*/ 297 h 1181"/>
                  <a:gd name="T10" fmla="*/ 597 w 845"/>
                  <a:gd name="T11" fmla="*/ 286 h 1181"/>
                  <a:gd name="T12" fmla="*/ 572 w 845"/>
                  <a:gd name="T13" fmla="*/ 272 h 1181"/>
                  <a:gd name="T14" fmla="*/ 572 w 845"/>
                  <a:gd name="T15" fmla="*/ 272 h 1181"/>
                  <a:gd name="T16" fmla="*/ 572 w 845"/>
                  <a:gd name="T17" fmla="*/ 208 h 1181"/>
                  <a:gd name="T18" fmla="*/ 533 w 845"/>
                  <a:gd name="T19" fmla="*/ 182 h 1181"/>
                  <a:gd name="T20" fmla="*/ 481 w 845"/>
                  <a:gd name="T21" fmla="*/ 156 h 1181"/>
                  <a:gd name="T22" fmla="*/ 389 w 845"/>
                  <a:gd name="T23" fmla="*/ 90 h 1181"/>
                  <a:gd name="T24" fmla="*/ 260 w 845"/>
                  <a:gd name="T25" fmla="*/ 38 h 1181"/>
                  <a:gd name="T26" fmla="*/ 208 w 845"/>
                  <a:gd name="T27" fmla="*/ 26 h 1181"/>
                  <a:gd name="T28" fmla="*/ 196 w 845"/>
                  <a:gd name="T29" fmla="*/ 64 h 1181"/>
                  <a:gd name="T30" fmla="*/ 196 w 845"/>
                  <a:gd name="T31" fmla="*/ 0 h 1181"/>
                  <a:gd name="T32" fmla="*/ 118 w 845"/>
                  <a:gd name="T33" fmla="*/ 38 h 1181"/>
                  <a:gd name="T34" fmla="*/ 78 w 845"/>
                  <a:gd name="T35" fmla="*/ 90 h 1181"/>
                  <a:gd name="T36" fmla="*/ 78 w 845"/>
                  <a:gd name="T37" fmla="*/ 156 h 1181"/>
                  <a:gd name="T38" fmla="*/ 13 w 845"/>
                  <a:gd name="T39" fmla="*/ 234 h 1181"/>
                  <a:gd name="T40" fmla="*/ 26 w 845"/>
                  <a:gd name="T41" fmla="*/ 272 h 1181"/>
                  <a:gd name="T42" fmla="*/ 26 w 845"/>
                  <a:gd name="T43" fmla="*/ 338 h 1181"/>
                  <a:gd name="T44" fmla="*/ 38 w 845"/>
                  <a:gd name="T45" fmla="*/ 402 h 1181"/>
                  <a:gd name="T46" fmla="*/ 105 w 845"/>
                  <a:gd name="T47" fmla="*/ 506 h 1181"/>
                  <a:gd name="T48" fmla="*/ 168 w 845"/>
                  <a:gd name="T49" fmla="*/ 557 h 1181"/>
                  <a:gd name="T50" fmla="*/ 182 w 845"/>
                  <a:gd name="T51" fmla="*/ 701 h 1181"/>
                  <a:gd name="T52" fmla="*/ 156 w 845"/>
                  <a:gd name="T53" fmla="*/ 792 h 1181"/>
                  <a:gd name="T54" fmla="*/ 130 w 845"/>
                  <a:gd name="T55" fmla="*/ 921 h 1181"/>
                  <a:gd name="T56" fmla="*/ 142 w 845"/>
                  <a:gd name="T57" fmla="*/ 987 h 1181"/>
                  <a:gd name="T58" fmla="*/ 130 w 845"/>
                  <a:gd name="T59" fmla="*/ 1039 h 1181"/>
                  <a:gd name="T60" fmla="*/ 118 w 845"/>
                  <a:gd name="T61" fmla="*/ 1077 h 1181"/>
                  <a:gd name="T62" fmla="*/ 118 w 845"/>
                  <a:gd name="T63" fmla="*/ 1118 h 1181"/>
                  <a:gd name="T64" fmla="*/ 130 w 845"/>
                  <a:gd name="T65" fmla="*/ 1170 h 1181"/>
                  <a:gd name="T66" fmla="*/ 142 w 845"/>
                  <a:gd name="T67" fmla="*/ 1181 h 1181"/>
                  <a:gd name="T68" fmla="*/ 182 w 845"/>
                  <a:gd name="T69" fmla="*/ 1170 h 1181"/>
                  <a:gd name="T70" fmla="*/ 220 w 845"/>
                  <a:gd name="T71" fmla="*/ 1103 h 1181"/>
                  <a:gd name="T72" fmla="*/ 208 w 845"/>
                  <a:gd name="T73" fmla="*/ 1052 h 1181"/>
                  <a:gd name="T74" fmla="*/ 260 w 845"/>
                  <a:gd name="T75" fmla="*/ 1013 h 1181"/>
                  <a:gd name="T76" fmla="*/ 260 w 845"/>
                  <a:gd name="T77" fmla="*/ 987 h 1181"/>
                  <a:gd name="T78" fmla="*/ 286 w 845"/>
                  <a:gd name="T79" fmla="*/ 948 h 1181"/>
                  <a:gd name="T80" fmla="*/ 378 w 845"/>
                  <a:gd name="T81" fmla="*/ 895 h 1181"/>
                  <a:gd name="T82" fmla="*/ 416 w 845"/>
                  <a:gd name="T83" fmla="*/ 884 h 1181"/>
                  <a:gd name="T84" fmla="*/ 468 w 845"/>
                  <a:gd name="T85" fmla="*/ 832 h 1181"/>
                  <a:gd name="T86" fmla="*/ 546 w 845"/>
                  <a:gd name="T87" fmla="*/ 727 h 1181"/>
                  <a:gd name="T88" fmla="*/ 638 w 845"/>
                  <a:gd name="T89" fmla="*/ 688 h 1181"/>
                  <a:gd name="T90" fmla="*/ 728 w 845"/>
                  <a:gd name="T91" fmla="*/ 609 h 1181"/>
                  <a:gd name="T92" fmla="*/ 754 w 845"/>
                  <a:gd name="T93" fmla="*/ 520 h 1181"/>
                  <a:gd name="T94" fmla="*/ 831 w 845"/>
                  <a:gd name="T95" fmla="*/ 468 h 1181"/>
                  <a:gd name="T96" fmla="*/ 831 w 845"/>
                  <a:gd name="T97" fmla="*/ 390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5" h="1181">
                    <a:moveTo>
                      <a:pt x="831" y="390"/>
                    </a:moveTo>
                    <a:lnTo>
                      <a:pt x="819" y="390"/>
                    </a:lnTo>
                    <a:lnTo>
                      <a:pt x="806" y="390"/>
                    </a:lnTo>
                    <a:lnTo>
                      <a:pt x="767" y="350"/>
                    </a:lnTo>
                    <a:lnTo>
                      <a:pt x="754" y="338"/>
                    </a:lnTo>
                    <a:lnTo>
                      <a:pt x="741" y="350"/>
                    </a:lnTo>
                    <a:lnTo>
                      <a:pt x="715" y="338"/>
                    </a:lnTo>
                    <a:lnTo>
                      <a:pt x="675" y="338"/>
                    </a:lnTo>
                    <a:lnTo>
                      <a:pt x="689" y="324"/>
                    </a:lnTo>
                    <a:lnTo>
                      <a:pt x="675" y="324"/>
                    </a:lnTo>
                    <a:lnTo>
                      <a:pt x="675" y="312"/>
                    </a:lnTo>
                    <a:lnTo>
                      <a:pt x="664" y="297"/>
                    </a:lnTo>
                    <a:lnTo>
                      <a:pt x="623" y="297"/>
                    </a:lnTo>
                    <a:lnTo>
                      <a:pt x="597" y="312"/>
                    </a:lnTo>
                    <a:lnTo>
                      <a:pt x="586" y="297"/>
                    </a:lnTo>
                    <a:lnTo>
                      <a:pt x="597" y="297"/>
                    </a:lnTo>
                    <a:lnTo>
                      <a:pt x="612" y="286"/>
                    </a:lnTo>
                    <a:lnTo>
                      <a:pt x="597" y="286"/>
                    </a:lnTo>
                    <a:lnTo>
                      <a:pt x="572" y="297"/>
                    </a:lnTo>
                    <a:lnTo>
                      <a:pt x="546" y="297"/>
                    </a:lnTo>
                    <a:lnTo>
                      <a:pt x="572" y="272"/>
                    </a:lnTo>
                    <a:lnTo>
                      <a:pt x="586" y="286"/>
                    </a:lnTo>
                    <a:lnTo>
                      <a:pt x="586" y="272"/>
                    </a:lnTo>
                    <a:lnTo>
                      <a:pt x="572" y="272"/>
                    </a:lnTo>
                    <a:lnTo>
                      <a:pt x="597" y="246"/>
                    </a:lnTo>
                    <a:lnTo>
                      <a:pt x="586" y="234"/>
                    </a:lnTo>
                    <a:lnTo>
                      <a:pt x="572" y="208"/>
                    </a:lnTo>
                    <a:lnTo>
                      <a:pt x="560" y="194"/>
                    </a:lnTo>
                    <a:lnTo>
                      <a:pt x="546" y="182"/>
                    </a:lnTo>
                    <a:lnTo>
                      <a:pt x="533" y="182"/>
                    </a:lnTo>
                    <a:lnTo>
                      <a:pt x="520" y="168"/>
                    </a:lnTo>
                    <a:lnTo>
                      <a:pt x="494" y="156"/>
                    </a:lnTo>
                    <a:lnTo>
                      <a:pt x="481" y="156"/>
                    </a:lnTo>
                    <a:lnTo>
                      <a:pt x="456" y="156"/>
                    </a:lnTo>
                    <a:lnTo>
                      <a:pt x="430" y="116"/>
                    </a:lnTo>
                    <a:lnTo>
                      <a:pt x="389" y="90"/>
                    </a:lnTo>
                    <a:lnTo>
                      <a:pt x="389" y="78"/>
                    </a:lnTo>
                    <a:lnTo>
                      <a:pt x="363" y="52"/>
                    </a:lnTo>
                    <a:lnTo>
                      <a:pt x="260" y="38"/>
                    </a:lnTo>
                    <a:lnTo>
                      <a:pt x="248" y="26"/>
                    </a:lnTo>
                    <a:lnTo>
                      <a:pt x="220" y="13"/>
                    </a:lnTo>
                    <a:lnTo>
                      <a:pt x="208" y="26"/>
                    </a:lnTo>
                    <a:lnTo>
                      <a:pt x="196" y="38"/>
                    </a:lnTo>
                    <a:lnTo>
                      <a:pt x="208" y="52"/>
                    </a:lnTo>
                    <a:lnTo>
                      <a:pt x="196" y="64"/>
                    </a:lnTo>
                    <a:lnTo>
                      <a:pt x="196" y="52"/>
                    </a:lnTo>
                    <a:lnTo>
                      <a:pt x="182" y="26"/>
                    </a:lnTo>
                    <a:lnTo>
                      <a:pt x="196" y="0"/>
                    </a:lnTo>
                    <a:lnTo>
                      <a:pt x="182" y="0"/>
                    </a:lnTo>
                    <a:lnTo>
                      <a:pt x="118" y="26"/>
                    </a:lnTo>
                    <a:lnTo>
                      <a:pt x="118" y="38"/>
                    </a:lnTo>
                    <a:lnTo>
                      <a:pt x="105" y="64"/>
                    </a:lnTo>
                    <a:lnTo>
                      <a:pt x="90" y="64"/>
                    </a:lnTo>
                    <a:lnTo>
                      <a:pt x="78" y="90"/>
                    </a:lnTo>
                    <a:lnTo>
                      <a:pt x="90" y="130"/>
                    </a:lnTo>
                    <a:lnTo>
                      <a:pt x="78" y="130"/>
                    </a:lnTo>
                    <a:lnTo>
                      <a:pt x="78" y="156"/>
                    </a:lnTo>
                    <a:lnTo>
                      <a:pt x="38" y="182"/>
                    </a:lnTo>
                    <a:lnTo>
                      <a:pt x="26" y="194"/>
                    </a:lnTo>
                    <a:lnTo>
                      <a:pt x="13" y="234"/>
                    </a:lnTo>
                    <a:lnTo>
                      <a:pt x="13" y="260"/>
                    </a:lnTo>
                    <a:lnTo>
                      <a:pt x="26" y="246"/>
                    </a:lnTo>
                    <a:lnTo>
                      <a:pt x="26" y="272"/>
                    </a:lnTo>
                    <a:lnTo>
                      <a:pt x="0" y="286"/>
                    </a:lnTo>
                    <a:lnTo>
                      <a:pt x="0" y="324"/>
                    </a:lnTo>
                    <a:lnTo>
                      <a:pt x="26" y="338"/>
                    </a:lnTo>
                    <a:lnTo>
                      <a:pt x="26" y="364"/>
                    </a:lnTo>
                    <a:lnTo>
                      <a:pt x="38" y="364"/>
                    </a:lnTo>
                    <a:lnTo>
                      <a:pt x="38" y="402"/>
                    </a:lnTo>
                    <a:lnTo>
                      <a:pt x="78" y="441"/>
                    </a:lnTo>
                    <a:lnTo>
                      <a:pt x="78" y="468"/>
                    </a:lnTo>
                    <a:lnTo>
                      <a:pt x="105" y="506"/>
                    </a:lnTo>
                    <a:lnTo>
                      <a:pt x="156" y="532"/>
                    </a:lnTo>
                    <a:lnTo>
                      <a:pt x="168" y="557"/>
                    </a:lnTo>
                    <a:lnTo>
                      <a:pt x="168" y="557"/>
                    </a:lnTo>
                    <a:lnTo>
                      <a:pt x="182" y="572"/>
                    </a:lnTo>
                    <a:lnTo>
                      <a:pt x="168" y="688"/>
                    </a:lnTo>
                    <a:lnTo>
                      <a:pt x="182" y="701"/>
                    </a:lnTo>
                    <a:lnTo>
                      <a:pt x="156" y="714"/>
                    </a:lnTo>
                    <a:lnTo>
                      <a:pt x="142" y="766"/>
                    </a:lnTo>
                    <a:lnTo>
                      <a:pt x="156" y="792"/>
                    </a:lnTo>
                    <a:lnTo>
                      <a:pt x="142" y="869"/>
                    </a:lnTo>
                    <a:lnTo>
                      <a:pt x="118" y="895"/>
                    </a:lnTo>
                    <a:lnTo>
                      <a:pt x="130" y="921"/>
                    </a:lnTo>
                    <a:lnTo>
                      <a:pt x="130" y="961"/>
                    </a:lnTo>
                    <a:lnTo>
                      <a:pt x="142" y="974"/>
                    </a:lnTo>
                    <a:lnTo>
                      <a:pt x="142" y="987"/>
                    </a:lnTo>
                    <a:lnTo>
                      <a:pt x="130" y="1000"/>
                    </a:lnTo>
                    <a:lnTo>
                      <a:pt x="142" y="1026"/>
                    </a:lnTo>
                    <a:lnTo>
                      <a:pt x="130" y="1039"/>
                    </a:lnTo>
                    <a:lnTo>
                      <a:pt x="105" y="1052"/>
                    </a:lnTo>
                    <a:lnTo>
                      <a:pt x="118" y="1065"/>
                    </a:lnTo>
                    <a:lnTo>
                      <a:pt x="118" y="1077"/>
                    </a:lnTo>
                    <a:lnTo>
                      <a:pt x="130" y="1077"/>
                    </a:lnTo>
                    <a:lnTo>
                      <a:pt x="118" y="1092"/>
                    </a:lnTo>
                    <a:lnTo>
                      <a:pt x="118" y="1118"/>
                    </a:lnTo>
                    <a:lnTo>
                      <a:pt x="118" y="1144"/>
                    </a:lnTo>
                    <a:lnTo>
                      <a:pt x="130" y="1155"/>
                    </a:lnTo>
                    <a:lnTo>
                      <a:pt x="130" y="1170"/>
                    </a:lnTo>
                    <a:lnTo>
                      <a:pt x="142" y="1170"/>
                    </a:lnTo>
                    <a:lnTo>
                      <a:pt x="156" y="1170"/>
                    </a:lnTo>
                    <a:lnTo>
                      <a:pt x="142" y="1181"/>
                    </a:lnTo>
                    <a:lnTo>
                      <a:pt x="156" y="1181"/>
                    </a:lnTo>
                    <a:lnTo>
                      <a:pt x="168" y="1170"/>
                    </a:lnTo>
                    <a:lnTo>
                      <a:pt x="182" y="1170"/>
                    </a:lnTo>
                    <a:lnTo>
                      <a:pt x="182" y="1155"/>
                    </a:lnTo>
                    <a:lnTo>
                      <a:pt x="182" y="1144"/>
                    </a:lnTo>
                    <a:lnTo>
                      <a:pt x="220" y="1103"/>
                    </a:lnTo>
                    <a:lnTo>
                      <a:pt x="220" y="1077"/>
                    </a:lnTo>
                    <a:lnTo>
                      <a:pt x="208" y="1077"/>
                    </a:lnTo>
                    <a:lnTo>
                      <a:pt x="208" y="1052"/>
                    </a:lnTo>
                    <a:lnTo>
                      <a:pt x="234" y="1052"/>
                    </a:lnTo>
                    <a:lnTo>
                      <a:pt x="248" y="1013"/>
                    </a:lnTo>
                    <a:lnTo>
                      <a:pt x="260" y="1013"/>
                    </a:lnTo>
                    <a:lnTo>
                      <a:pt x="260" y="1000"/>
                    </a:lnTo>
                    <a:lnTo>
                      <a:pt x="248" y="1000"/>
                    </a:lnTo>
                    <a:lnTo>
                      <a:pt x="260" y="987"/>
                    </a:lnTo>
                    <a:lnTo>
                      <a:pt x="286" y="974"/>
                    </a:lnTo>
                    <a:lnTo>
                      <a:pt x="300" y="961"/>
                    </a:lnTo>
                    <a:lnTo>
                      <a:pt x="286" y="948"/>
                    </a:lnTo>
                    <a:lnTo>
                      <a:pt x="338" y="948"/>
                    </a:lnTo>
                    <a:lnTo>
                      <a:pt x="363" y="935"/>
                    </a:lnTo>
                    <a:lnTo>
                      <a:pt x="378" y="895"/>
                    </a:lnTo>
                    <a:lnTo>
                      <a:pt x="352" y="858"/>
                    </a:lnTo>
                    <a:lnTo>
                      <a:pt x="378" y="869"/>
                    </a:lnTo>
                    <a:lnTo>
                      <a:pt x="416" y="884"/>
                    </a:lnTo>
                    <a:lnTo>
                      <a:pt x="442" y="858"/>
                    </a:lnTo>
                    <a:lnTo>
                      <a:pt x="474" y="816"/>
                    </a:lnTo>
                    <a:lnTo>
                      <a:pt x="468" y="832"/>
                    </a:lnTo>
                    <a:lnTo>
                      <a:pt x="481" y="832"/>
                    </a:lnTo>
                    <a:lnTo>
                      <a:pt x="533" y="780"/>
                    </a:lnTo>
                    <a:lnTo>
                      <a:pt x="546" y="727"/>
                    </a:lnTo>
                    <a:lnTo>
                      <a:pt x="597" y="701"/>
                    </a:lnTo>
                    <a:lnTo>
                      <a:pt x="612" y="701"/>
                    </a:lnTo>
                    <a:lnTo>
                      <a:pt x="638" y="688"/>
                    </a:lnTo>
                    <a:lnTo>
                      <a:pt x="664" y="688"/>
                    </a:lnTo>
                    <a:lnTo>
                      <a:pt x="675" y="688"/>
                    </a:lnTo>
                    <a:lnTo>
                      <a:pt x="728" y="609"/>
                    </a:lnTo>
                    <a:lnTo>
                      <a:pt x="741" y="583"/>
                    </a:lnTo>
                    <a:lnTo>
                      <a:pt x="754" y="557"/>
                    </a:lnTo>
                    <a:lnTo>
                      <a:pt x="754" y="520"/>
                    </a:lnTo>
                    <a:lnTo>
                      <a:pt x="767" y="520"/>
                    </a:lnTo>
                    <a:lnTo>
                      <a:pt x="819" y="468"/>
                    </a:lnTo>
                    <a:lnTo>
                      <a:pt x="831" y="468"/>
                    </a:lnTo>
                    <a:lnTo>
                      <a:pt x="845" y="441"/>
                    </a:lnTo>
                    <a:lnTo>
                      <a:pt x="845" y="402"/>
                    </a:lnTo>
                    <a:lnTo>
                      <a:pt x="831" y="39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5" name="Freeform 9">
                <a:extLst>
                  <a:ext uri="{FF2B5EF4-FFF2-40B4-BE49-F238E27FC236}">
                    <a16:creationId xmlns:a16="http://schemas.microsoft.com/office/drawing/2014/main" id="{A400FB1D-5386-4F51-8909-71B85D65F5F8}"/>
                  </a:ext>
                </a:extLst>
              </p:cNvPr>
              <p:cNvSpPr>
                <a:spLocks/>
              </p:cNvSpPr>
              <p:nvPr/>
            </p:nvSpPr>
            <p:spPr bwMode="gray">
              <a:xfrm>
                <a:off x="2060" y="1227"/>
                <a:ext cx="142" cy="90"/>
              </a:xfrm>
              <a:custGeom>
                <a:avLst/>
                <a:gdLst>
                  <a:gd name="T0" fmla="*/ 52 w 142"/>
                  <a:gd name="T1" fmla="*/ 12 h 90"/>
                  <a:gd name="T2" fmla="*/ 52 w 142"/>
                  <a:gd name="T3" fmla="*/ 26 h 90"/>
                  <a:gd name="T4" fmla="*/ 38 w 142"/>
                  <a:gd name="T5" fmla="*/ 26 h 90"/>
                  <a:gd name="T6" fmla="*/ 38 w 142"/>
                  <a:gd name="T7" fmla="*/ 12 h 90"/>
                  <a:gd name="T8" fmla="*/ 26 w 142"/>
                  <a:gd name="T9" fmla="*/ 0 h 90"/>
                  <a:gd name="T10" fmla="*/ 12 w 142"/>
                  <a:gd name="T11" fmla="*/ 0 h 90"/>
                  <a:gd name="T12" fmla="*/ 12 w 142"/>
                  <a:gd name="T13" fmla="*/ 12 h 90"/>
                  <a:gd name="T14" fmla="*/ 26 w 142"/>
                  <a:gd name="T15" fmla="*/ 12 h 90"/>
                  <a:gd name="T16" fmla="*/ 12 w 142"/>
                  <a:gd name="T17" fmla="*/ 12 h 90"/>
                  <a:gd name="T18" fmla="*/ 0 w 142"/>
                  <a:gd name="T19" fmla="*/ 12 h 90"/>
                  <a:gd name="T20" fmla="*/ 0 w 142"/>
                  <a:gd name="T21" fmla="*/ 26 h 90"/>
                  <a:gd name="T22" fmla="*/ 12 w 142"/>
                  <a:gd name="T23" fmla="*/ 26 h 90"/>
                  <a:gd name="T24" fmla="*/ 26 w 142"/>
                  <a:gd name="T25" fmla="*/ 38 h 90"/>
                  <a:gd name="T26" fmla="*/ 38 w 142"/>
                  <a:gd name="T27" fmla="*/ 38 h 90"/>
                  <a:gd name="T28" fmla="*/ 38 w 142"/>
                  <a:gd name="T29" fmla="*/ 52 h 90"/>
                  <a:gd name="T30" fmla="*/ 26 w 142"/>
                  <a:gd name="T31" fmla="*/ 52 h 90"/>
                  <a:gd name="T32" fmla="*/ 12 w 142"/>
                  <a:gd name="T33" fmla="*/ 52 h 90"/>
                  <a:gd name="T34" fmla="*/ 26 w 142"/>
                  <a:gd name="T35" fmla="*/ 64 h 90"/>
                  <a:gd name="T36" fmla="*/ 38 w 142"/>
                  <a:gd name="T37" fmla="*/ 64 h 90"/>
                  <a:gd name="T38" fmla="*/ 26 w 142"/>
                  <a:gd name="T39" fmla="*/ 64 h 90"/>
                  <a:gd name="T40" fmla="*/ 26 w 142"/>
                  <a:gd name="T41" fmla="*/ 78 h 90"/>
                  <a:gd name="T42" fmla="*/ 38 w 142"/>
                  <a:gd name="T43" fmla="*/ 90 h 90"/>
                  <a:gd name="T44" fmla="*/ 52 w 142"/>
                  <a:gd name="T45" fmla="*/ 90 h 90"/>
                  <a:gd name="T46" fmla="*/ 64 w 142"/>
                  <a:gd name="T47" fmla="*/ 90 h 90"/>
                  <a:gd name="T48" fmla="*/ 78 w 142"/>
                  <a:gd name="T49" fmla="*/ 78 h 90"/>
                  <a:gd name="T50" fmla="*/ 104 w 142"/>
                  <a:gd name="T51" fmla="*/ 90 h 90"/>
                  <a:gd name="T52" fmla="*/ 116 w 142"/>
                  <a:gd name="T53" fmla="*/ 78 h 90"/>
                  <a:gd name="T54" fmla="*/ 116 w 142"/>
                  <a:gd name="T55" fmla="*/ 64 h 90"/>
                  <a:gd name="T56" fmla="*/ 130 w 142"/>
                  <a:gd name="T57" fmla="*/ 64 h 90"/>
                  <a:gd name="T58" fmla="*/ 142 w 142"/>
                  <a:gd name="T59" fmla="*/ 52 h 90"/>
                  <a:gd name="T60" fmla="*/ 142 w 142"/>
                  <a:gd name="T61" fmla="*/ 38 h 90"/>
                  <a:gd name="T62" fmla="*/ 142 w 142"/>
                  <a:gd name="T63" fmla="*/ 26 h 90"/>
                  <a:gd name="T64" fmla="*/ 130 w 142"/>
                  <a:gd name="T65" fmla="*/ 26 h 90"/>
                  <a:gd name="T66" fmla="*/ 130 w 142"/>
                  <a:gd name="T67" fmla="*/ 12 h 90"/>
                  <a:gd name="T68" fmla="*/ 116 w 142"/>
                  <a:gd name="T69" fmla="*/ 12 h 90"/>
                  <a:gd name="T70" fmla="*/ 104 w 142"/>
                  <a:gd name="T71" fmla="*/ 12 h 90"/>
                  <a:gd name="T72" fmla="*/ 90 w 142"/>
                  <a:gd name="T73" fmla="*/ 12 h 90"/>
                  <a:gd name="T74" fmla="*/ 78 w 142"/>
                  <a:gd name="T75" fmla="*/ 26 h 90"/>
                  <a:gd name="T76" fmla="*/ 78 w 142"/>
                  <a:gd name="T77" fmla="*/ 12 h 90"/>
                  <a:gd name="T78" fmla="*/ 64 w 142"/>
                  <a:gd name="T79" fmla="*/ 12 h 90"/>
                  <a:gd name="T80" fmla="*/ 52 w 142"/>
                  <a:gd name="T81" fmla="*/ 12 h 90"/>
                  <a:gd name="T82" fmla="*/ 52 w 142"/>
                  <a:gd name="T8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90">
                    <a:moveTo>
                      <a:pt x="52" y="12"/>
                    </a:moveTo>
                    <a:lnTo>
                      <a:pt x="52" y="26"/>
                    </a:lnTo>
                    <a:lnTo>
                      <a:pt x="38" y="26"/>
                    </a:lnTo>
                    <a:lnTo>
                      <a:pt x="38" y="12"/>
                    </a:lnTo>
                    <a:lnTo>
                      <a:pt x="26" y="0"/>
                    </a:lnTo>
                    <a:lnTo>
                      <a:pt x="12" y="0"/>
                    </a:lnTo>
                    <a:lnTo>
                      <a:pt x="12" y="12"/>
                    </a:lnTo>
                    <a:lnTo>
                      <a:pt x="26" y="12"/>
                    </a:lnTo>
                    <a:lnTo>
                      <a:pt x="12" y="12"/>
                    </a:lnTo>
                    <a:lnTo>
                      <a:pt x="0" y="12"/>
                    </a:lnTo>
                    <a:lnTo>
                      <a:pt x="0" y="26"/>
                    </a:lnTo>
                    <a:lnTo>
                      <a:pt x="12" y="26"/>
                    </a:lnTo>
                    <a:lnTo>
                      <a:pt x="26" y="38"/>
                    </a:lnTo>
                    <a:lnTo>
                      <a:pt x="38" y="38"/>
                    </a:lnTo>
                    <a:lnTo>
                      <a:pt x="38" y="52"/>
                    </a:lnTo>
                    <a:lnTo>
                      <a:pt x="26" y="52"/>
                    </a:lnTo>
                    <a:lnTo>
                      <a:pt x="12" y="52"/>
                    </a:lnTo>
                    <a:lnTo>
                      <a:pt x="26" y="64"/>
                    </a:lnTo>
                    <a:lnTo>
                      <a:pt x="38" y="64"/>
                    </a:lnTo>
                    <a:lnTo>
                      <a:pt x="26" y="64"/>
                    </a:lnTo>
                    <a:lnTo>
                      <a:pt x="26" y="78"/>
                    </a:lnTo>
                    <a:lnTo>
                      <a:pt x="38" y="90"/>
                    </a:lnTo>
                    <a:lnTo>
                      <a:pt x="52" y="90"/>
                    </a:lnTo>
                    <a:lnTo>
                      <a:pt x="64" y="90"/>
                    </a:lnTo>
                    <a:lnTo>
                      <a:pt x="78" y="78"/>
                    </a:lnTo>
                    <a:lnTo>
                      <a:pt x="104" y="90"/>
                    </a:lnTo>
                    <a:lnTo>
                      <a:pt x="116" y="78"/>
                    </a:lnTo>
                    <a:lnTo>
                      <a:pt x="116" y="64"/>
                    </a:lnTo>
                    <a:lnTo>
                      <a:pt x="130" y="64"/>
                    </a:lnTo>
                    <a:lnTo>
                      <a:pt x="142" y="52"/>
                    </a:lnTo>
                    <a:lnTo>
                      <a:pt x="142" y="38"/>
                    </a:lnTo>
                    <a:lnTo>
                      <a:pt x="142" y="26"/>
                    </a:lnTo>
                    <a:lnTo>
                      <a:pt x="130" y="26"/>
                    </a:lnTo>
                    <a:lnTo>
                      <a:pt x="130" y="12"/>
                    </a:lnTo>
                    <a:lnTo>
                      <a:pt x="116" y="12"/>
                    </a:lnTo>
                    <a:lnTo>
                      <a:pt x="104" y="12"/>
                    </a:lnTo>
                    <a:lnTo>
                      <a:pt x="90" y="12"/>
                    </a:lnTo>
                    <a:lnTo>
                      <a:pt x="78" y="26"/>
                    </a:lnTo>
                    <a:lnTo>
                      <a:pt x="78" y="12"/>
                    </a:lnTo>
                    <a:lnTo>
                      <a:pt x="64" y="12"/>
                    </a:lnTo>
                    <a:lnTo>
                      <a:pt x="52" y="12"/>
                    </a:lnTo>
                    <a:lnTo>
                      <a:pt x="52" y="12"/>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6" name="Freeform 10">
                <a:extLst>
                  <a:ext uri="{FF2B5EF4-FFF2-40B4-BE49-F238E27FC236}">
                    <a16:creationId xmlns:a16="http://schemas.microsoft.com/office/drawing/2014/main" id="{58455D40-588B-4DBC-B4C8-941069E44BA7}"/>
                  </a:ext>
                </a:extLst>
              </p:cNvPr>
              <p:cNvSpPr>
                <a:spLocks/>
              </p:cNvSpPr>
              <p:nvPr/>
            </p:nvSpPr>
            <p:spPr bwMode="gray">
              <a:xfrm>
                <a:off x="1708" y="615"/>
                <a:ext cx="442" cy="702"/>
              </a:xfrm>
              <a:custGeom>
                <a:avLst/>
                <a:gdLst>
                  <a:gd name="T0" fmla="*/ 156 w 442"/>
                  <a:gd name="T1" fmla="*/ 66 h 702"/>
                  <a:gd name="T2" fmla="*/ 118 w 442"/>
                  <a:gd name="T3" fmla="*/ 92 h 702"/>
                  <a:gd name="T4" fmla="*/ 92 w 442"/>
                  <a:gd name="T5" fmla="*/ 118 h 702"/>
                  <a:gd name="T6" fmla="*/ 66 w 442"/>
                  <a:gd name="T7" fmla="*/ 144 h 702"/>
                  <a:gd name="T8" fmla="*/ 66 w 442"/>
                  <a:gd name="T9" fmla="*/ 196 h 702"/>
                  <a:gd name="T10" fmla="*/ 0 w 442"/>
                  <a:gd name="T11" fmla="*/ 234 h 702"/>
                  <a:gd name="T12" fmla="*/ 40 w 442"/>
                  <a:gd name="T13" fmla="*/ 274 h 702"/>
                  <a:gd name="T14" fmla="*/ 14 w 442"/>
                  <a:gd name="T15" fmla="*/ 300 h 702"/>
                  <a:gd name="T16" fmla="*/ 66 w 442"/>
                  <a:gd name="T17" fmla="*/ 312 h 702"/>
                  <a:gd name="T18" fmla="*/ 104 w 442"/>
                  <a:gd name="T19" fmla="*/ 326 h 702"/>
                  <a:gd name="T20" fmla="*/ 130 w 442"/>
                  <a:gd name="T21" fmla="*/ 378 h 702"/>
                  <a:gd name="T22" fmla="*/ 144 w 442"/>
                  <a:gd name="T23" fmla="*/ 416 h 702"/>
                  <a:gd name="T24" fmla="*/ 156 w 442"/>
                  <a:gd name="T25" fmla="*/ 456 h 702"/>
                  <a:gd name="T26" fmla="*/ 130 w 442"/>
                  <a:gd name="T27" fmla="*/ 482 h 702"/>
                  <a:gd name="T28" fmla="*/ 130 w 442"/>
                  <a:gd name="T29" fmla="*/ 520 h 702"/>
                  <a:gd name="T30" fmla="*/ 130 w 442"/>
                  <a:gd name="T31" fmla="*/ 546 h 702"/>
                  <a:gd name="T32" fmla="*/ 130 w 442"/>
                  <a:gd name="T33" fmla="*/ 586 h 702"/>
                  <a:gd name="T34" fmla="*/ 144 w 442"/>
                  <a:gd name="T35" fmla="*/ 638 h 702"/>
                  <a:gd name="T36" fmla="*/ 144 w 442"/>
                  <a:gd name="T37" fmla="*/ 676 h 702"/>
                  <a:gd name="T38" fmla="*/ 182 w 442"/>
                  <a:gd name="T39" fmla="*/ 690 h 702"/>
                  <a:gd name="T40" fmla="*/ 196 w 442"/>
                  <a:gd name="T41" fmla="*/ 702 h 702"/>
                  <a:gd name="T42" fmla="*/ 234 w 442"/>
                  <a:gd name="T43" fmla="*/ 664 h 702"/>
                  <a:gd name="T44" fmla="*/ 248 w 442"/>
                  <a:gd name="T45" fmla="*/ 598 h 702"/>
                  <a:gd name="T46" fmla="*/ 274 w 442"/>
                  <a:gd name="T47" fmla="*/ 546 h 702"/>
                  <a:gd name="T48" fmla="*/ 326 w 442"/>
                  <a:gd name="T49" fmla="*/ 520 h 702"/>
                  <a:gd name="T50" fmla="*/ 338 w 442"/>
                  <a:gd name="T51" fmla="*/ 482 h 702"/>
                  <a:gd name="T52" fmla="*/ 390 w 442"/>
                  <a:gd name="T53" fmla="*/ 442 h 702"/>
                  <a:gd name="T54" fmla="*/ 430 w 442"/>
                  <a:gd name="T55" fmla="*/ 416 h 702"/>
                  <a:gd name="T56" fmla="*/ 390 w 442"/>
                  <a:gd name="T57" fmla="*/ 404 h 702"/>
                  <a:gd name="T58" fmla="*/ 390 w 442"/>
                  <a:gd name="T59" fmla="*/ 378 h 702"/>
                  <a:gd name="T60" fmla="*/ 416 w 442"/>
                  <a:gd name="T61" fmla="*/ 378 h 702"/>
                  <a:gd name="T62" fmla="*/ 442 w 442"/>
                  <a:gd name="T63" fmla="*/ 378 h 702"/>
                  <a:gd name="T64" fmla="*/ 404 w 442"/>
                  <a:gd name="T65" fmla="*/ 352 h 702"/>
                  <a:gd name="T66" fmla="*/ 390 w 442"/>
                  <a:gd name="T67" fmla="*/ 326 h 702"/>
                  <a:gd name="T68" fmla="*/ 404 w 442"/>
                  <a:gd name="T69" fmla="*/ 300 h 702"/>
                  <a:gd name="T70" fmla="*/ 416 w 442"/>
                  <a:gd name="T71" fmla="*/ 274 h 702"/>
                  <a:gd name="T72" fmla="*/ 404 w 442"/>
                  <a:gd name="T73" fmla="*/ 222 h 702"/>
                  <a:gd name="T74" fmla="*/ 390 w 442"/>
                  <a:gd name="T75" fmla="*/ 182 h 702"/>
                  <a:gd name="T76" fmla="*/ 378 w 442"/>
                  <a:gd name="T77" fmla="*/ 170 h 702"/>
                  <a:gd name="T78" fmla="*/ 404 w 442"/>
                  <a:gd name="T79" fmla="*/ 130 h 702"/>
                  <a:gd name="T80" fmla="*/ 404 w 442"/>
                  <a:gd name="T81" fmla="*/ 118 h 702"/>
                  <a:gd name="T82" fmla="*/ 390 w 442"/>
                  <a:gd name="T83" fmla="*/ 92 h 702"/>
                  <a:gd name="T84" fmla="*/ 338 w 442"/>
                  <a:gd name="T85" fmla="*/ 118 h 702"/>
                  <a:gd name="T86" fmla="*/ 326 w 442"/>
                  <a:gd name="T87" fmla="*/ 104 h 702"/>
                  <a:gd name="T88" fmla="*/ 352 w 442"/>
                  <a:gd name="T89" fmla="*/ 92 h 702"/>
                  <a:gd name="T90" fmla="*/ 326 w 442"/>
                  <a:gd name="T91" fmla="*/ 92 h 702"/>
                  <a:gd name="T92" fmla="*/ 312 w 442"/>
                  <a:gd name="T93" fmla="*/ 78 h 702"/>
                  <a:gd name="T94" fmla="*/ 300 w 442"/>
                  <a:gd name="T95" fmla="*/ 66 h 702"/>
                  <a:gd name="T96" fmla="*/ 352 w 442"/>
                  <a:gd name="T97" fmla="*/ 52 h 702"/>
                  <a:gd name="T98" fmla="*/ 378 w 442"/>
                  <a:gd name="T99" fmla="*/ 26 h 702"/>
                  <a:gd name="T100" fmla="*/ 326 w 442"/>
                  <a:gd name="T101" fmla="*/ 0 h 702"/>
                  <a:gd name="T102" fmla="*/ 274 w 442"/>
                  <a:gd name="T103" fmla="*/ 0 h 702"/>
                  <a:gd name="T104" fmla="*/ 260 w 442"/>
                  <a:gd name="T105" fmla="*/ 26 h 702"/>
                  <a:gd name="T106" fmla="*/ 222 w 442"/>
                  <a:gd name="T107" fmla="*/ 26 h 702"/>
                  <a:gd name="T108" fmla="*/ 208 w 442"/>
                  <a:gd name="T109" fmla="*/ 52 h 702"/>
                  <a:gd name="T110" fmla="*/ 196 w 442"/>
                  <a:gd name="T111" fmla="*/ 52 h 702"/>
                  <a:gd name="T112" fmla="*/ 196 w 442"/>
                  <a:gd name="T113" fmla="*/ 7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2" h="702">
                    <a:moveTo>
                      <a:pt x="196" y="78"/>
                    </a:moveTo>
                    <a:lnTo>
                      <a:pt x="156" y="66"/>
                    </a:lnTo>
                    <a:lnTo>
                      <a:pt x="130" y="78"/>
                    </a:lnTo>
                    <a:lnTo>
                      <a:pt x="118" y="92"/>
                    </a:lnTo>
                    <a:lnTo>
                      <a:pt x="104" y="104"/>
                    </a:lnTo>
                    <a:lnTo>
                      <a:pt x="92" y="118"/>
                    </a:lnTo>
                    <a:lnTo>
                      <a:pt x="92" y="144"/>
                    </a:lnTo>
                    <a:lnTo>
                      <a:pt x="66" y="144"/>
                    </a:lnTo>
                    <a:lnTo>
                      <a:pt x="52" y="170"/>
                    </a:lnTo>
                    <a:lnTo>
                      <a:pt x="66" y="196"/>
                    </a:lnTo>
                    <a:lnTo>
                      <a:pt x="40" y="222"/>
                    </a:lnTo>
                    <a:lnTo>
                      <a:pt x="0" y="234"/>
                    </a:lnTo>
                    <a:lnTo>
                      <a:pt x="0" y="248"/>
                    </a:lnTo>
                    <a:lnTo>
                      <a:pt x="40" y="274"/>
                    </a:lnTo>
                    <a:lnTo>
                      <a:pt x="14" y="286"/>
                    </a:lnTo>
                    <a:lnTo>
                      <a:pt x="14" y="300"/>
                    </a:lnTo>
                    <a:lnTo>
                      <a:pt x="26" y="326"/>
                    </a:lnTo>
                    <a:lnTo>
                      <a:pt x="66" y="312"/>
                    </a:lnTo>
                    <a:lnTo>
                      <a:pt x="78" y="312"/>
                    </a:lnTo>
                    <a:lnTo>
                      <a:pt x="104" y="326"/>
                    </a:lnTo>
                    <a:lnTo>
                      <a:pt x="104" y="338"/>
                    </a:lnTo>
                    <a:lnTo>
                      <a:pt x="130" y="378"/>
                    </a:lnTo>
                    <a:lnTo>
                      <a:pt x="144" y="390"/>
                    </a:lnTo>
                    <a:lnTo>
                      <a:pt x="144" y="416"/>
                    </a:lnTo>
                    <a:lnTo>
                      <a:pt x="144" y="442"/>
                    </a:lnTo>
                    <a:lnTo>
                      <a:pt x="156" y="456"/>
                    </a:lnTo>
                    <a:lnTo>
                      <a:pt x="156" y="468"/>
                    </a:lnTo>
                    <a:lnTo>
                      <a:pt x="130" y="482"/>
                    </a:lnTo>
                    <a:lnTo>
                      <a:pt x="130" y="494"/>
                    </a:lnTo>
                    <a:lnTo>
                      <a:pt x="130" y="520"/>
                    </a:lnTo>
                    <a:lnTo>
                      <a:pt x="118" y="534"/>
                    </a:lnTo>
                    <a:lnTo>
                      <a:pt x="130" y="546"/>
                    </a:lnTo>
                    <a:lnTo>
                      <a:pt x="130" y="560"/>
                    </a:lnTo>
                    <a:lnTo>
                      <a:pt x="130" y="586"/>
                    </a:lnTo>
                    <a:lnTo>
                      <a:pt x="130" y="612"/>
                    </a:lnTo>
                    <a:lnTo>
                      <a:pt x="144" y="638"/>
                    </a:lnTo>
                    <a:lnTo>
                      <a:pt x="156" y="650"/>
                    </a:lnTo>
                    <a:lnTo>
                      <a:pt x="144" y="676"/>
                    </a:lnTo>
                    <a:lnTo>
                      <a:pt x="156" y="690"/>
                    </a:lnTo>
                    <a:lnTo>
                      <a:pt x="182" y="690"/>
                    </a:lnTo>
                    <a:lnTo>
                      <a:pt x="182" y="702"/>
                    </a:lnTo>
                    <a:lnTo>
                      <a:pt x="196" y="702"/>
                    </a:lnTo>
                    <a:lnTo>
                      <a:pt x="222" y="690"/>
                    </a:lnTo>
                    <a:lnTo>
                      <a:pt x="234" y="664"/>
                    </a:lnTo>
                    <a:lnTo>
                      <a:pt x="234" y="624"/>
                    </a:lnTo>
                    <a:lnTo>
                      <a:pt x="248" y="598"/>
                    </a:lnTo>
                    <a:lnTo>
                      <a:pt x="260" y="560"/>
                    </a:lnTo>
                    <a:lnTo>
                      <a:pt x="274" y="546"/>
                    </a:lnTo>
                    <a:lnTo>
                      <a:pt x="300" y="534"/>
                    </a:lnTo>
                    <a:lnTo>
                      <a:pt x="326" y="520"/>
                    </a:lnTo>
                    <a:lnTo>
                      <a:pt x="338" y="508"/>
                    </a:lnTo>
                    <a:lnTo>
                      <a:pt x="338" y="482"/>
                    </a:lnTo>
                    <a:lnTo>
                      <a:pt x="364" y="468"/>
                    </a:lnTo>
                    <a:lnTo>
                      <a:pt x="390" y="442"/>
                    </a:lnTo>
                    <a:lnTo>
                      <a:pt x="404" y="442"/>
                    </a:lnTo>
                    <a:lnTo>
                      <a:pt x="430" y="416"/>
                    </a:lnTo>
                    <a:lnTo>
                      <a:pt x="416" y="404"/>
                    </a:lnTo>
                    <a:lnTo>
                      <a:pt x="390" y="404"/>
                    </a:lnTo>
                    <a:lnTo>
                      <a:pt x="390" y="390"/>
                    </a:lnTo>
                    <a:lnTo>
                      <a:pt x="390" y="378"/>
                    </a:lnTo>
                    <a:lnTo>
                      <a:pt x="390" y="364"/>
                    </a:lnTo>
                    <a:lnTo>
                      <a:pt x="416" y="378"/>
                    </a:lnTo>
                    <a:lnTo>
                      <a:pt x="430" y="378"/>
                    </a:lnTo>
                    <a:lnTo>
                      <a:pt x="442" y="378"/>
                    </a:lnTo>
                    <a:lnTo>
                      <a:pt x="430" y="352"/>
                    </a:lnTo>
                    <a:lnTo>
                      <a:pt x="404" y="352"/>
                    </a:lnTo>
                    <a:lnTo>
                      <a:pt x="390" y="338"/>
                    </a:lnTo>
                    <a:lnTo>
                      <a:pt x="390" y="326"/>
                    </a:lnTo>
                    <a:lnTo>
                      <a:pt x="416" y="312"/>
                    </a:lnTo>
                    <a:lnTo>
                      <a:pt x="404" y="300"/>
                    </a:lnTo>
                    <a:lnTo>
                      <a:pt x="416" y="286"/>
                    </a:lnTo>
                    <a:lnTo>
                      <a:pt x="416" y="274"/>
                    </a:lnTo>
                    <a:lnTo>
                      <a:pt x="416" y="248"/>
                    </a:lnTo>
                    <a:lnTo>
                      <a:pt x="404" y="222"/>
                    </a:lnTo>
                    <a:lnTo>
                      <a:pt x="378" y="208"/>
                    </a:lnTo>
                    <a:lnTo>
                      <a:pt x="390" y="182"/>
                    </a:lnTo>
                    <a:lnTo>
                      <a:pt x="390" y="170"/>
                    </a:lnTo>
                    <a:lnTo>
                      <a:pt x="378" y="170"/>
                    </a:lnTo>
                    <a:lnTo>
                      <a:pt x="390" y="144"/>
                    </a:lnTo>
                    <a:lnTo>
                      <a:pt x="404" y="130"/>
                    </a:lnTo>
                    <a:lnTo>
                      <a:pt x="416" y="118"/>
                    </a:lnTo>
                    <a:lnTo>
                      <a:pt x="404" y="118"/>
                    </a:lnTo>
                    <a:lnTo>
                      <a:pt x="404" y="92"/>
                    </a:lnTo>
                    <a:lnTo>
                      <a:pt x="390" y="92"/>
                    </a:lnTo>
                    <a:lnTo>
                      <a:pt x="378" y="104"/>
                    </a:lnTo>
                    <a:lnTo>
                      <a:pt x="338" y="118"/>
                    </a:lnTo>
                    <a:lnTo>
                      <a:pt x="326" y="118"/>
                    </a:lnTo>
                    <a:lnTo>
                      <a:pt x="326" y="104"/>
                    </a:lnTo>
                    <a:lnTo>
                      <a:pt x="338" y="92"/>
                    </a:lnTo>
                    <a:lnTo>
                      <a:pt x="352" y="92"/>
                    </a:lnTo>
                    <a:lnTo>
                      <a:pt x="338" y="78"/>
                    </a:lnTo>
                    <a:lnTo>
                      <a:pt x="326" y="92"/>
                    </a:lnTo>
                    <a:lnTo>
                      <a:pt x="312" y="92"/>
                    </a:lnTo>
                    <a:lnTo>
                      <a:pt x="312" y="78"/>
                    </a:lnTo>
                    <a:lnTo>
                      <a:pt x="312" y="66"/>
                    </a:lnTo>
                    <a:lnTo>
                      <a:pt x="300" y="66"/>
                    </a:lnTo>
                    <a:lnTo>
                      <a:pt x="326" y="52"/>
                    </a:lnTo>
                    <a:lnTo>
                      <a:pt x="352" y="52"/>
                    </a:lnTo>
                    <a:lnTo>
                      <a:pt x="378" y="40"/>
                    </a:lnTo>
                    <a:lnTo>
                      <a:pt x="378" y="26"/>
                    </a:lnTo>
                    <a:lnTo>
                      <a:pt x="352" y="26"/>
                    </a:lnTo>
                    <a:lnTo>
                      <a:pt x="326" y="0"/>
                    </a:lnTo>
                    <a:lnTo>
                      <a:pt x="300" y="0"/>
                    </a:lnTo>
                    <a:lnTo>
                      <a:pt x="274" y="0"/>
                    </a:lnTo>
                    <a:lnTo>
                      <a:pt x="260" y="0"/>
                    </a:lnTo>
                    <a:lnTo>
                      <a:pt x="260" y="26"/>
                    </a:lnTo>
                    <a:lnTo>
                      <a:pt x="234" y="26"/>
                    </a:lnTo>
                    <a:lnTo>
                      <a:pt x="222" y="26"/>
                    </a:lnTo>
                    <a:lnTo>
                      <a:pt x="222" y="40"/>
                    </a:lnTo>
                    <a:lnTo>
                      <a:pt x="208" y="52"/>
                    </a:lnTo>
                    <a:lnTo>
                      <a:pt x="208" y="66"/>
                    </a:lnTo>
                    <a:lnTo>
                      <a:pt x="196" y="52"/>
                    </a:lnTo>
                    <a:lnTo>
                      <a:pt x="196" y="66"/>
                    </a:lnTo>
                    <a:lnTo>
                      <a:pt x="196" y="78"/>
                    </a:lnTo>
                    <a:lnTo>
                      <a:pt x="196" y="78"/>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7" name="Freeform 11">
                <a:extLst>
                  <a:ext uri="{FF2B5EF4-FFF2-40B4-BE49-F238E27FC236}">
                    <a16:creationId xmlns:a16="http://schemas.microsoft.com/office/drawing/2014/main" id="{26DBC035-8543-4FFE-9834-2BD26626A996}"/>
                  </a:ext>
                </a:extLst>
              </p:cNvPr>
              <p:cNvSpPr>
                <a:spLocks/>
              </p:cNvSpPr>
              <p:nvPr/>
            </p:nvSpPr>
            <p:spPr bwMode="gray">
              <a:xfrm>
                <a:off x="538" y="719"/>
                <a:ext cx="1195" cy="1859"/>
              </a:xfrm>
              <a:custGeom>
                <a:avLst/>
                <a:gdLst>
                  <a:gd name="T0" fmla="*/ 2130 w 2391"/>
                  <a:gd name="T1" fmla="*/ 1767 h 3718"/>
                  <a:gd name="T2" fmla="*/ 2130 w 2391"/>
                  <a:gd name="T3" fmla="*/ 1690 h 3718"/>
                  <a:gd name="T4" fmla="*/ 2391 w 2391"/>
                  <a:gd name="T5" fmla="*/ 1560 h 3718"/>
                  <a:gd name="T6" fmla="*/ 2159 w 2391"/>
                  <a:gd name="T7" fmla="*/ 1403 h 3718"/>
                  <a:gd name="T8" fmla="*/ 2004 w 2391"/>
                  <a:gd name="T9" fmla="*/ 1328 h 3718"/>
                  <a:gd name="T10" fmla="*/ 1871 w 2391"/>
                  <a:gd name="T11" fmla="*/ 1144 h 3718"/>
                  <a:gd name="T12" fmla="*/ 1739 w 2391"/>
                  <a:gd name="T13" fmla="*/ 1299 h 3718"/>
                  <a:gd name="T14" fmla="*/ 1687 w 2391"/>
                  <a:gd name="T15" fmla="*/ 1535 h 3718"/>
                  <a:gd name="T16" fmla="*/ 1664 w 2391"/>
                  <a:gd name="T17" fmla="*/ 1535 h 3718"/>
                  <a:gd name="T18" fmla="*/ 1376 w 2391"/>
                  <a:gd name="T19" fmla="*/ 1328 h 3718"/>
                  <a:gd name="T20" fmla="*/ 1455 w 2391"/>
                  <a:gd name="T21" fmla="*/ 1040 h 3718"/>
                  <a:gd name="T22" fmla="*/ 1532 w 2391"/>
                  <a:gd name="T23" fmla="*/ 963 h 3718"/>
                  <a:gd name="T24" fmla="*/ 1687 w 2391"/>
                  <a:gd name="T25" fmla="*/ 808 h 3718"/>
                  <a:gd name="T26" fmla="*/ 1583 w 2391"/>
                  <a:gd name="T27" fmla="*/ 833 h 3718"/>
                  <a:gd name="T28" fmla="*/ 1480 w 2391"/>
                  <a:gd name="T29" fmla="*/ 675 h 3718"/>
                  <a:gd name="T30" fmla="*/ 1428 w 2391"/>
                  <a:gd name="T31" fmla="*/ 833 h 3718"/>
                  <a:gd name="T32" fmla="*/ 1351 w 2391"/>
                  <a:gd name="T33" fmla="*/ 808 h 3718"/>
                  <a:gd name="T34" fmla="*/ 1196 w 2391"/>
                  <a:gd name="T35" fmla="*/ 727 h 3718"/>
                  <a:gd name="T36" fmla="*/ 1012 w 2391"/>
                  <a:gd name="T37" fmla="*/ 520 h 3718"/>
                  <a:gd name="T38" fmla="*/ 831 w 2391"/>
                  <a:gd name="T39" fmla="*/ 416 h 3718"/>
                  <a:gd name="T40" fmla="*/ 728 w 2391"/>
                  <a:gd name="T41" fmla="*/ 184 h 3718"/>
                  <a:gd name="T42" fmla="*/ 491 w 2391"/>
                  <a:gd name="T43" fmla="*/ 81 h 3718"/>
                  <a:gd name="T44" fmla="*/ 417 w 2391"/>
                  <a:gd name="T45" fmla="*/ 29 h 3718"/>
                  <a:gd name="T46" fmla="*/ 259 w 2391"/>
                  <a:gd name="T47" fmla="*/ 104 h 3718"/>
                  <a:gd name="T48" fmla="*/ 129 w 2391"/>
                  <a:gd name="T49" fmla="*/ 261 h 3718"/>
                  <a:gd name="T50" fmla="*/ 284 w 2391"/>
                  <a:gd name="T51" fmla="*/ 416 h 3718"/>
                  <a:gd name="T52" fmla="*/ 365 w 2391"/>
                  <a:gd name="T53" fmla="*/ 468 h 3718"/>
                  <a:gd name="T54" fmla="*/ 417 w 2391"/>
                  <a:gd name="T55" fmla="*/ 675 h 3718"/>
                  <a:gd name="T56" fmla="*/ 417 w 2391"/>
                  <a:gd name="T57" fmla="*/ 963 h 3718"/>
                  <a:gd name="T58" fmla="*/ 388 w 2391"/>
                  <a:gd name="T59" fmla="*/ 1247 h 3718"/>
                  <a:gd name="T60" fmla="*/ 336 w 2391"/>
                  <a:gd name="T61" fmla="*/ 1276 h 3718"/>
                  <a:gd name="T62" fmla="*/ 129 w 2391"/>
                  <a:gd name="T63" fmla="*/ 1560 h 3718"/>
                  <a:gd name="T64" fmla="*/ 181 w 2391"/>
                  <a:gd name="T65" fmla="*/ 2026 h 3718"/>
                  <a:gd name="T66" fmla="*/ 181 w 2391"/>
                  <a:gd name="T67" fmla="*/ 2368 h 3718"/>
                  <a:gd name="T68" fmla="*/ 232 w 2391"/>
                  <a:gd name="T69" fmla="*/ 2494 h 3718"/>
                  <a:gd name="T70" fmla="*/ 232 w 2391"/>
                  <a:gd name="T71" fmla="*/ 2132 h 3718"/>
                  <a:gd name="T72" fmla="*/ 336 w 2391"/>
                  <a:gd name="T73" fmla="*/ 2442 h 3718"/>
                  <a:gd name="T74" fmla="*/ 417 w 2391"/>
                  <a:gd name="T75" fmla="*/ 2914 h 3718"/>
                  <a:gd name="T76" fmla="*/ 856 w 2391"/>
                  <a:gd name="T77" fmla="*/ 3173 h 3718"/>
                  <a:gd name="T78" fmla="*/ 1115 w 2391"/>
                  <a:gd name="T79" fmla="*/ 3354 h 3718"/>
                  <a:gd name="T80" fmla="*/ 1299 w 2391"/>
                  <a:gd name="T81" fmla="*/ 3615 h 3718"/>
                  <a:gd name="T82" fmla="*/ 1455 w 2391"/>
                  <a:gd name="T83" fmla="*/ 3615 h 3718"/>
                  <a:gd name="T84" fmla="*/ 1560 w 2391"/>
                  <a:gd name="T85" fmla="*/ 3641 h 3718"/>
                  <a:gd name="T86" fmla="*/ 1272 w 2391"/>
                  <a:gd name="T87" fmla="*/ 3486 h 3718"/>
                  <a:gd name="T88" fmla="*/ 1299 w 2391"/>
                  <a:gd name="T89" fmla="*/ 3273 h 3718"/>
                  <a:gd name="T90" fmla="*/ 1144 w 2391"/>
                  <a:gd name="T91" fmla="*/ 3146 h 3718"/>
                  <a:gd name="T92" fmla="*/ 1196 w 2391"/>
                  <a:gd name="T93" fmla="*/ 2962 h 3718"/>
                  <a:gd name="T94" fmla="*/ 937 w 2391"/>
                  <a:gd name="T95" fmla="*/ 3043 h 3718"/>
                  <a:gd name="T96" fmla="*/ 728 w 2391"/>
                  <a:gd name="T97" fmla="*/ 2807 h 3718"/>
                  <a:gd name="T98" fmla="*/ 856 w 2391"/>
                  <a:gd name="T99" fmla="*/ 2546 h 3718"/>
                  <a:gd name="T100" fmla="*/ 1115 w 2391"/>
                  <a:gd name="T101" fmla="*/ 2598 h 3718"/>
                  <a:gd name="T102" fmla="*/ 1219 w 2391"/>
                  <a:gd name="T103" fmla="*/ 2627 h 3718"/>
                  <a:gd name="T104" fmla="*/ 1351 w 2391"/>
                  <a:gd name="T105" fmla="*/ 2627 h 3718"/>
                  <a:gd name="T106" fmla="*/ 1507 w 2391"/>
                  <a:gd name="T107" fmla="*/ 2834 h 3718"/>
                  <a:gd name="T108" fmla="*/ 1560 w 2391"/>
                  <a:gd name="T109" fmla="*/ 2575 h 3718"/>
                  <a:gd name="T110" fmla="*/ 1791 w 2391"/>
                  <a:gd name="T111" fmla="*/ 2287 h 3718"/>
                  <a:gd name="T112" fmla="*/ 1900 w 2391"/>
                  <a:gd name="T113" fmla="*/ 2158 h 3718"/>
                  <a:gd name="T114" fmla="*/ 2078 w 2391"/>
                  <a:gd name="T115" fmla="*/ 2003 h 3718"/>
                  <a:gd name="T116" fmla="*/ 2107 w 2391"/>
                  <a:gd name="T117" fmla="*/ 1974 h 3718"/>
                  <a:gd name="T118" fmla="*/ 2236 w 2391"/>
                  <a:gd name="T119" fmla="*/ 195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91" h="3718">
                    <a:moveTo>
                      <a:pt x="2184" y="1848"/>
                    </a:moveTo>
                    <a:lnTo>
                      <a:pt x="2159" y="1848"/>
                    </a:lnTo>
                    <a:lnTo>
                      <a:pt x="2184" y="1819"/>
                    </a:lnTo>
                    <a:lnTo>
                      <a:pt x="2159" y="1796"/>
                    </a:lnTo>
                    <a:lnTo>
                      <a:pt x="2130" y="1767"/>
                    </a:lnTo>
                    <a:lnTo>
                      <a:pt x="2027" y="1848"/>
                    </a:lnTo>
                    <a:lnTo>
                      <a:pt x="1975" y="1848"/>
                    </a:lnTo>
                    <a:lnTo>
                      <a:pt x="2004" y="1819"/>
                    </a:lnTo>
                    <a:lnTo>
                      <a:pt x="2055" y="1767"/>
                    </a:lnTo>
                    <a:lnTo>
                      <a:pt x="2130" y="1690"/>
                    </a:lnTo>
                    <a:lnTo>
                      <a:pt x="2236" y="1690"/>
                    </a:lnTo>
                    <a:lnTo>
                      <a:pt x="2314" y="1663"/>
                    </a:lnTo>
                    <a:lnTo>
                      <a:pt x="2366" y="1612"/>
                    </a:lnTo>
                    <a:lnTo>
                      <a:pt x="2391" y="1587"/>
                    </a:lnTo>
                    <a:lnTo>
                      <a:pt x="2391" y="1560"/>
                    </a:lnTo>
                    <a:lnTo>
                      <a:pt x="2339" y="1535"/>
                    </a:lnTo>
                    <a:lnTo>
                      <a:pt x="2339" y="1483"/>
                    </a:lnTo>
                    <a:lnTo>
                      <a:pt x="2314" y="1456"/>
                    </a:lnTo>
                    <a:lnTo>
                      <a:pt x="2211" y="1456"/>
                    </a:lnTo>
                    <a:lnTo>
                      <a:pt x="2159" y="1403"/>
                    </a:lnTo>
                    <a:lnTo>
                      <a:pt x="2184" y="1351"/>
                    </a:lnTo>
                    <a:lnTo>
                      <a:pt x="2130" y="1328"/>
                    </a:lnTo>
                    <a:lnTo>
                      <a:pt x="2078" y="1247"/>
                    </a:lnTo>
                    <a:lnTo>
                      <a:pt x="2027" y="1328"/>
                    </a:lnTo>
                    <a:lnTo>
                      <a:pt x="2004" y="1328"/>
                    </a:lnTo>
                    <a:lnTo>
                      <a:pt x="1975" y="1299"/>
                    </a:lnTo>
                    <a:lnTo>
                      <a:pt x="1975" y="1224"/>
                    </a:lnTo>
                    <a:lnTo>
                      <a:pt x="1923" y="1195"/>
                    </a:lnTo>
                    <a:lnTo>
                      <a:pt x="1900" y="1172"/>
                    </a:lnTo>
                    <a:lnTo>
                      <a:pt x="1871" y="1144"/>
                    </a:lnTo>
                    <a:lnTo>
                      <a:pt x="1819" y="1144"/>
                    </a:lnTo>
                    <a:lnTo>
                      <a:pt x="1739" y="1144"/>
                    </a:lnTo>
                    <a:lnTo>
                      <a:pt x="1739" y="1224"/>
                    </a:lnTo>
                    <a:lnTo>
                      <a:pt x="1768" y="1247"/>
                    </a:lnTo>
                    <a:lnTo>
                      <a:pt x="1739" y="1299"/>
                    </a:lnTo>
                    <a:lnTo>
                      <a:pt x="1716" y="1328"/>
                    </a:lnTo>
                    <a:lnTo>
                      <a:pt x="1739" y="1328"/>
                    </a:lnTo>
                    <a:lnTo>
                      <a:pt x="1768" y="1431"/>
                    </a:lnTo>
                    <a:lnTo>
                      <a:pt x="1716" y="1483"/>
                    </a:lnTo>
                    <a:lnTo>
                      <a:pt x="1687" y="1535"/>
                    </a:lnTo>
                    <a:lnTo>
                      <a:pt x="1739" y="1560"/>
                    </a:lnTo>
                    <a:lnTo>
                      <a:pt x="1739" y="1639"/>
                    </a:lnTo>
                    <a:lnTo>
                      <a:pt x="1687" y="1639"/>
                    </a:lnTo>
                    <a:lnTo>
                      <a:pt x="1635" y="1560"/>
                    </a:lnTo>
                    <a:lnTo>
                      <a:pt x="1664" y="1535"/>
                    </a:lnTo>
                    <a:lnTo>
                      <a:pt x="1635" y="1508"/>
                    </a:lnTo>
                    <a:lnTo>
                      <a:pt x="1635" y="1456"/>
                    </a:lnTo>
                    <a:lnTo>
                      <a:pt x="1560" y="1456"/>
                    </a:lnTo>
                    <a:lnTo>
                      <a:pt x="1480" y="1380"/>
                    </a:lnTo>
                    <a:lnTo>
                      <a:pt x="1376" y="1328"/>
                    </a:lnTo>
                    <a:lnTo>
                      <a:pt x="1376" y="1276"/>
                    </a:lnTo>
                    <a:lnTo>
                      <a:pt x="1324" y="1224"/>
                    </a:lnTo>
                    <a:lnTo>
                      <a:pt x="1376" y="1144"/>
                    </a:lnTo>
                    <a:lnTo>
                      <a:pt x="1480" y="1067"/>
                    </a:lnTo>
                    <a:lnTo>
                      <a:pt x="1455" y="1040"/>
                    </a:lnTo>
                    <a:lnTo>
                      <a:pt x="1507" y="1040"/>
                    </a:lnTo>
                    <a:lnTo>
                      <a:pt x="1507" y="1015"/>
                    </a:lnTo>
                    <a:lnTo>
                      <a:pt x="1532" y="1040"/>
                    </a:lnTo>
                    <a:lnTo>
                      <a:pt x="1560" y="988"/>
                    </a:lnTo>
                    <a:lnTo>
                      <a:pt x="1532" y="963"/>
                    </a:lnTo>
                    <a:lnTo>
                      <a:pt x="1583" y="963"/>
                    </a:lnTo>
                    <a:lnTo>
                      <a:pt x="1612" y="936"/>
                    </a:lnTo>
                    <a:lnTo>
                      <a:pt x="1664" y="936"/>
                    </a:lnTo>
                    <a:lnTo>
                      <a:pt x="1687" y="885"/>
                    </a:lnTo>
                    <a:lnTo>
                      <a:pt x="1687" y="808"/>
                    </a:lnTo>
                    <a:lnTo>
                      <a:pt x="1635" y="779"/>
                    </a:lnTo>
                    <a:lnTo>
                      <a:pt x="1635" y="833"/>
                    </a:lnTo>
                    <a:lnTo>
                      <a:pt x="1583" y="885"/>
                    </a:lnTo>
                    <a:lnTo>
                      <a:pt x="1560" y="833"/>
                    </a:lnTo>
                    <a:lnTo>
                      <a:pt x="1583" y="833"/>
                    </a:lnTo>
                    <a:lnTo>
                      <a:pt x="1560" y="808"/>
                    </a:lnTo>
                    <a:lnTo>
                      <a:pt x="1507" y="808"/>
                    </a:lnTo>
                    <a:lnTo>
                      <a:pt x="1507" y="756"/>
                    </a:lnTo>
                    <a:lnTo>
                      <a:pt x="1507" y="727"/>
                    </a:lnTo>
                    <a:lnTo>
                      <a:pt x="1480" y="675"/>
                    </a:lnTo>
                    <a:lnTo>
                      <a:pt x="1455" y="704"/>
                    </a:lnTo>
                    <a:lnTo>
                      <a:pt x="1480" y="779"/>
                    </a:lnTo>
                    <a:lnTo>
                      <a:pt x="1455" y="808"/>
                    </a:lnTo>
                    <a:lnTo>
                      <a:pt x="1455" y="833"/>
                    </a:lnTo>
                    <a:lnTo>
                      <a:pt x="1428" y="833"/>
                    </a:lnTo>
                    <a:lnTo>
                      <a:pt x="1403" y="833"/>
                    </a:lnTo>
                    <a:lnTo>
                      <a:pt x="1428" y="756"/>
                    </a:lnTo>
                    <a:lnTo>
                      <a:pt x="1376" y="756"/>
                    </a:lnTo>
                    <a:lnTo>
                      <a:pt x="1376" y="779"/>
                    </a:lnTo>
                    <a:lnTo>
                      <a:pt x="1351" y="808"/>
                    </a:lnTo>
                    <a:lnTo>
                      <a:pt x="1299" y="756"/>
                    </a:lnTo>
                    <a:lnTo>
                      <a:pt x="1248" y="727"/>
                    </a:lnTo>
                    <a:lnTo>
                      <a:pt x="1248" y="756"/>
                    </a:lnTo>
                    <a:lnTo>
                      <a:pt x="1196" y="756"/>
                    </a:lnTo>
                    <a:lnTo>
                      <a:pt x="1196" y="727"/>
                    </a:lnTo>
                    <a:lnTo>
                      <a:pt x="1115" y="675"/>
                    </a:lnTo>
                    <a:lnTo>
                      <a:pt x="1115" y="652"/>
                    </a:lnTo>
                    <a:lnTo>
                      <a:pt x="1063" y="624"/>
                    </a:lnTo>
                    <a:lnTo>
                      <a:pt x="1063" y="572"/>
                    </a:lnTo>
                    <a:lnTo>
                      <a:pt x="1012" y="520"/>
                    </a:lnTo>
                    <a:lnTo>
                      <a:pt x="988" y="497"/>
                    </a:lnTo>
                    <a:lnTo>
                      <a:pt x="988" y="468"/>
                    </a:lnTo>
                    <a:lnTo>
                      <a:pt x="937" y="468"/>
                    </a:lnTo>
                    <a:lnTo>
                      <a:pt x="937" y="443"/>
                    </a:lnTo>
                    <a:lnTo>
                      <a:pt x="831" y="416"/>
                    </a:lnTo>
                    <a:lnTo>
                      <a:pt x="804" y="340"/>
                    </a:lnTo>
                    <a:lnTo>
                      <a:pt x="804" y="313"/>
                    </a:lnTo>
                    <a:lnTo>
                      <a:pt x="779" y="261"/>
                    </a:lnTo>
                    <a:lnTo>
                      <a:pt x="779" y="236"/>
                    </a:lnTo>
                    <a:lnTo>
                      <a:pt x="728" y="184"/>
                    </a:lnTo>
                    <a:lnTo>
                      <a:pt x="752" y="133"/>
                    </a:lnTo>
                    <a:lnTo>
                      <a:pt x="701" y="81"/>
                    </a:lnTo>
                    <a:lnTo>
                      <a:pt x="624" y="52"/>
                    </a:lnTo>
                    <a:lnTo>
                      <a:pt x="543" y="0"/>
                    </a:lnTo>
                    <a:lnTo>
                      <a:pt x="491" y="81"/>
                    </a:lnTo>
                    <a:lnTo>
                      <a:pt x="491" y="104"/>
                    </a:lnTo>
                    <a:lnTo>
                      <a:pt x="468" y="133"/>
                    </a:lnTo>
                    <a:lnTo>
                      <a:pt x="440" y="104"/>
                    </a:lnTo>
                    <a:lnTo>
                      <a:pt x="440" y="81"/>
                    </a:lnTo>
                    <a:lnTo>
                      <a:pt x="417" y="29"/>
                    </a:lnTo>
                    <a:lnTo>
                      <a:pt x="365" y="29"/>
                    </a:lnTo>
                    <a:lnTo>
                      <a:pt x="365" y="104"/>
                    </a:lnTo>
                    <a:lnTo>
                      <a:pt x="365" y="156"/>
                    </a:lnTo>
                    <a:lnTo>
                      <a:pt x="336" y="156"/>
                    </a:lnTo>
                    <a:lnTo>
                      <a:pt x="259" y="104"/>
                    </a:lnTo>
                    <a:lnTo>
                      <a:pt x="129" y="156"/>
                    </a:lnTo>
                    <a:lnTo>
                      <a:pt x="129" y="209"/>
                    </a:lnTo>
                    <a:lnTo>
                      <a:pt x="156" y="209"/>
                    </a:lnTo>
                    <a:lnTo>
                      <a:pt x="104" y="261"/>
                    </a:lnTo>
                    <a:lnTo>
                      <a:pt x="129" y="261"/>
                    </a:lnTo>
                    <a:lnTo>
                      <a:pt x="129" y="288"/>
                    </a:lnTo>
                    <a:lnTo>
                      <a:pt x="156" y="340"/>
                    </a:lnTo>
                    <a:lnTo>
                      <a:pt x="0" y="340"/>
                    </a:lnTo>
                    <a:lnTo>
                      <a:pt x="181" y="392"/>
                    </a:lnTo>
                    <a:lnTo>
                      <a:pt x="284" y="416"/>
                    </a:lnTo>
                    <a:lnTo>
                      <a:pt x="232" y="443"/>
                    </a:lnTo>
                    <a:lnTo>
                      <a:pt x="259" y="468"/>
                    </a:lnTo>
                    <a:lnTo>
                      <a:pt x="336" y="468"/>
                    </a:lnTo>
                    <a:lnTo>
                      <a:pt x="336" y="443"/>
                    </a:lnTo>
                    <a:lnTo>
                      <a:pt x="365" y="468"/>
                    </a:lnTo>
                    <a:lnTo>
                      <a:pt x="365" y="497"/>
                    </a:lnTo>
                    <a:lnTo>
                      <a:pt x="365" y="549"/>
                    </a:lnTo>
                    <a:lnTo>
                      <a:pt x="417" y="572"/>
                    </a:lnTo>
                    <a:lnTo>
                      <a:pt x="417" y="624"/>
                    </a:lnTo>
                    <a:lnTo>
                      <a:pt x="417" y="675"/>
                    </a:lnTo>
                    <a:lnTo>
                      <a:pt x="417" y="727"/>
                    </a:lnTo>
                    <a:lnTo>
                      <a:pt x="440" y="756"/>
                    </a:lnTo>
                    <a:lnTo>
                      <a:pt x="468" y="756"/>
                    </a:lnTo>
                    <a:lnTo>
                      <a:pt x="417" y="860"/>
                    </a:lnTo>
                    <a:lnTo>
                      <a:pt x="417" y="963"/>
                    </a:lnTo>
                    <a:lnTo>
                      <a:pt x="388" y="1015"/>
                    </a:lnTo>
                    <a:lnTo>
                      <a:pt x="417" y="1040"/>
                    </a:lnTo>
                    <a:lnTo>
                      <a:pt x="388" y="1172"/>
                    </a:lnTo>
                    <a:lnTo>
                      <a:pt x="388" y="1224"/>
                    </a:lnTo>
                    <a:lnTo>
                      <a:pt x="388" y="1247"/>
                    </a:lnTo>
                    <a:lnTo>
                      <a:pt x="388" y="1299"/>
                    </a:lnTo>
                    <a:lnTo>
                      <a:pt x="388" y="1328"/>
                    </a:lnTo>
                    <a:lnTo>
                      <a:pt x="417" y="1328"/>
                    </a:lnTo>
                    <a:lnTo>
                      <a:pt x="365" y="1299"/>
                    </a:lnTo>
                    <a:lnTo>
                      <a:pt x="336" y="1276"/>
                    </a:lnTo>
                    <a:lnTo>
                      <a:pt x="313" y="1351"/>
                    </a:lnTo>
                    <a:lnTo>
                      <a:pt x="259" y="1456"/>
                    </a:lnTo>
                    <a:lnTo>
                      <a:pt x="207" y="1483"/>
                    </a:lnTo>
                    <a:lnTo>
                      <a:pt x="181" y="1535"/>
                    </a:lnTo>
                    <a:lnTo>
                      <a:pt x="129" y="1560"/>
                    </a:lnTo>
                    <a:lnTo>
                      <a:pt x="104" y="1715"/>
                    </a:lnTo>
                    <a:lnTo>
                      <a:pt x="104" y="1871"/>
                    </a:lnTo>
                    <a:lnTo>
                      <a:pt x="156" y="1974"/>
                    </a:lnTo>
                    <a:lnTo>
                      <a:pt x="181" y="2003"/>
                    </a:lnTo>
                    <a:lnTo>
                      <a:pt x="181" y="2026"/>
                    </a:lnTo>
                    <a:lnTo>
                      <a:pt x="156" y="2080"/>
                    </a:lnTo>
                    <a:lnTo>
                      <a:pt x="207" y="2262"/>
                    </a:lnTo>
                    <a:lnTo>
                      <a:pt x="181" y="2287"/>
                    </a:lnTo>
                    <a:lnTo>
                      <a:pt x="156" y="2262"/>
                    </a:lnTo>
                    <a:lnTo>
                      <a:pt x="181" y="2368"/>
                    </a:lnTo>
                    <a:lnTo>
                      <a:pt x="207" y="2391"/>
                    </a:lnTo>
                    <a:lnTo>
                      <a:pt x="181" y="2471"/>
                    </a:lnTo>
                    <a:lnTo>
                      <a:pt x="259" y="2575"/>
                    </a:lnTo>
                    <a:lnTo>
                      <a:pt x="259" y="2523"/>
                    </a:lnTo>
                    <a:lnTo>
                      <a:pt x="232" y="2494"/>
                    </a:lnTo>
                    <a:lnTo>
                      <a:pt x="232" y="2442"/>
                    </a:lnTo>
                    <a:lnTo>
                      <a:pt x="232" y="2314"/>
                    </a:lnTo>
                    <a:lnTo>
                      <a:pt x="232" y="2287"/>
                    </a:lnTo>
                    <a:lnTo>
                      <a:pt x="207" y="2210"/>
                    </a:lnTo>
                    <a:lnTo>
                      <a:pt x="232" y="2132"/>
                    </a:lnTo>
                    <a:lnTo>
                      <a:pt x="284" y="2183"/>
                    </a:lnTo>
                    <a:lnTo>
                      <a:pt x="313" y="2339"/>
                    </a:lnTo>
                    <a:lnTo>
                      <a:pt x="313" y="2391"/>
                    </a:lnTo>
                    <a:lnTo>
                      <a:pt x="313" y="2442"/>
                    </a:lnTo>
                    <a:lnTo>
                      <a:pt x="336" y="2442"/>
                    </a:lnTo>
                    <a:lnTo>
                      <a:pt x="313" y="2471"/>
                    </a:lnTo>
                    <a:lnTo>
                      <a:pt x="365" y="2523"/>
                    </a:lnTo>
                    <a:lnTo>
                      <a:pt x="417" y="2703"/>
                    </a:lnTo>
                    <a:lnTo>
                      <a:pt x="365" y="2782"/>
                    </a:lnTo>
                    <a:lnTo>
                      <a:pt x="417" y="2914"/>
                    </a:lnTo>
                    <a:lnTo>
                      <a:pt x="491" y="2937"/>
                    </a:lnTo>
                    <a:lnTo>
                      <a:pt x="543" y="3014"/>
                    </a:lnTo>
                    <a:lnTo>
                      <a:pt x="728" y="3118"/>
                    </a:lnTo>
                    <a:lnTo>
                      <a:pt x="804" y="3118"/>
                    </a:lnTo>
                    <a:lnTo>
                      <a:pt x="856" y="3173"/>
                    </a:lnTo>
                    <a:lnTo>
                      <a:pt x="883" y="3225"/>
                    </a:lnTo>
                    <a:lnTo>
                      <a:pt x="937" y="3273"/>
                    </a:lnTo>
                    <a:lnTo>
                      <a:pt x="1012" y="3302"/>
                    </a:lnTo>
                    <a:lnTo>
                      <a:pt x="1040" y="3331"/>
                    </a:lnTo>
                    <a:lnTo>
                      <a:pt x="1115" y="3354"/>
                    </a:lnTo>
                    <a:lnTo>
                      <a:pt x="1167" y="3457"/>
                    </a:lnTo>
                    <a:lnTo>
                      <a:pt x="1167" y="3486"/>
                    </a:lnTo>
                    <a:lnTo>
                      <a:pt x="1167" y="3509"/>
                    </a:lnTo>
                    <a:lnTo>
                      <a:pt x="1272" y="3615"/>
                    </a:lnTo>
                    <a:lnTo>
                      <a:pt x="1299" y="3615"/>
                    </a:lnTo>
                    <a:lnTo>
                      <a:pt x="1403" y="3693"/>
                    </a:lnTo>
                    <a:lnTo>
                      <a:pt x="1428" y="3666"/>
                    </a:lnTo>
                    <a:lnTo>
                      <a:pt x="1376" y="3641"/>
                    </a:lnTo>
                    <a:lnTo>
                      <a:pt x="1428" y="3641"/>
                    </a:lnTo>
                    <a:lnTo>
                      <a:pt x="1455" y="3615"/>
                    </a:lnTo>
                    <a:lnTo>
                      <a:pt x="1507" y="3666"/>
                    </a:lnTo>
                    <a:lnTo>
                      <a:pt x="1480" y="3693"/>
                    </a:lnTo>
                    <a:lnTo>
                      <a:pt x="1532" y="3718"/>
                    </a:lnTo>
                    <a:lnTo>
                      <a:pt x="1560" y="3718"/>
                    </a:lnTo>
                    <a:lnTo>
                      <a:pt x="1560" y="3641"/>
                    </a:lnTo>
                    <a:lnTo>
                      <a:pt x="1455" y="3590"/>
                    </a:lnTo>
                    <a:lnTo>
                      <a:pt x="1351" y="3615"/>
                    </a:lnTo>
                    <a:lnTo>
                      <a:pt x="1299" y="3561"/>
                    </a:lnTo>
                    <a:lnTo>
                      <a:pt x="1248" y="3538"/>
                    </a:lnTo>
                    <a:lnTo>
                      <a:pt x="1272" y="3486"/>
                    </a:lnTo>
                    <a:lnTo>
                      <a:pt x="1272" y="3430"/>
                    </a:lnTo>
                    <a:lnTo>
                      <a:pt x="1351" y="3354"/>
                    </a:lnTo>
                    <a:lnTo>
                      <a:pt x="1351" y="3331"/>
                    </a:lnTo>
                    <a:lnTo>
                      <a:pt x="1299" y="3302"/>
                    </a:lnTo>
                    <a:lnTo>
                      <a:pt x="1299" y="3273"/>
                    </a:lnTo>
                    <a:lnTo>
                      <a:pt x="1272" y="3273"/>
                    </a:lnTo>
                    <a:lnTo>
                      <a:pt x="1115" y="3250"/>
                    </a:lnTo>
                    <a:lnTo>
                      <a:pt x="1092" y="3225"/>
                    </a:lnTo>
                    <a:lnTo>
                      <a:pt x="1115" y="3198"/>
                    </a:lnTo>
                    <a:lnTo>
                      <a:pt x="1144" y="3146"/>
                    </a:lnTo>
                    <a:lnTo>
                      <a:pt x="1144" y="3118"/>
                    </a:lnTo>
                    <a:lnTo>
                      <a:pt x="1167" y="3095"/>
                    </a:lnTo>
                    <a:lnTo>
                      <a:pt x="1167" y="3043"/>
                    </a:lnTo>
                    <a:lnTo>
                      <a:pt x="1196" y="3014"/>
                    </a:lnTo>
                    <a:lnTo>
                      <a:pt x="1196" y="2962"/>
                    </a:lnTo>
                    <a:lnTo>
                      <a:pt x="1167" y="2962"/>
                    </a:lnTo>
                    <a:lnTo>
                      <a:pt x="1063" y="2962"/>
                    </a:lnTo>
                    <a:lnTo>
                      <a:pt x="1040" y="3043"/>
                    </a:lnTo>
                    <a:lnTo>
                      <a:pt x="1012" y="3070"/>
                    </a:lnTo>
                    <a:lnTo>
                      <a:pt x="937" y="3043"/>
                    </a:lnTo>
                    <a:lnTo>
                      <a:pt x="883" y="3043"/>
                    </a:lnTo>
                    <a:lnTo>
                      <a:pt x="779" y="2991"/>
                    </a:lnTo>
                    <a:lnTo>
                      <a:pt x="752" y="2962"/>
                    </a:lnTo>
                    <a:lnTo>
                      <a:pt x="779" y="2886"/>
                    </a:lnTo>
                    <a:lnTo>
                      <a:pt x="728" y="2807"/>
                    </a:lnTo>
                    <a:lnTo>
                      <a:pt x="752" y="2755"/>
                    </a:lnTo>
                    <a:lnTo>
                      <a:pt x="804" y="2703"/>
                    </a:lnTo>
                    <a:lnTo>
                      <a:pt x="804" y="2678"/>
                    </a:lnTo>
                    <a:lnTo>
                      <a:pt x="831" y="2575"/>
                    </a:lnTo>
                    <a:lnTo>
                      <a:pt x="856" y="2546"/>
                    </a:lnTo>
                    <a:lnTo>
                      <a:pt x="1012" y="2546"/>
                    </a:lnTo>
                    <a:lnTo>
                      <a:pt x="1040" y="2546"/>
                    </a:lnTo>
                    <a:lnTo>
                      <a:pt x="1063" y="2575"/>
                    </a:lnTo>
                    <a:lnTo>
                      <a:pt x="1092" y="2575"/>
                    </a:lnTo>
                    <a:lnTo>
                      <a:pt x="1115" y="2598"/>
                    </a:lnTo>
                    <a:lnTo>
                      <a:pt x="1144" y="2598"/>
                    </a:lnTo>
                    <a:lnTo>
                      <a:pt x="1144" y="2627"/>
                    </a:lnTo>
                    <a:lnTo>
                      <a:pt x="1167" y="2598"/>
                    </a:lnTo>
                    <a:lnTo>
                      <a:pt x="1196" y="2627"/>
                    </a:lnTo>
                    <a:lnTo>
                      <a:pt x="1219" y="2627"/>
                    </a:lnTo>
                    <a:lnTo>
                      <a:pt x="1196" y="2575"/>
                    </a:lnTo>
                    <a:lnTo>
                      <a:pt x="1272" y="2598"/>
                    </a:lnTo>
                    <a:lnTo>
                      <a:pt x="1299" y="2575"/>
                    </a:lnTo>
                    <a:lnTo>
                      <a:pt x="1351" y="2598"/>
                    </a:lnTo>
                    <a:lnTo>
                      <a:pt x="1351" y="2627"/>
                    </a:lnTo>
                    <a:lnTo>
                      <a:pt x="1455" y="2650"/>
                    </a:lnTo>
                    <a:lnTo>
                      <a:pt x="1480" y="2678"/>
                    </a:lnTo>
                    <a:lnTo>
                      <a:pt x="1455" y="2782"/>
                    </a:lnTo>
                    <a:lnTo>
                      <a:pt x="1480" y="2782"/>
                    </a:lnTo>
                    <a:lnTo>
                      <a:pt x="1507" y="2834"/>
                    </a:lnTo>
                    <a:lnTo>
                      <a:pt x="1507" y="2886"/>
                    </a:lnTo>
                    <a:lnTo>
                      <a:pt x="1560" y="2859"/>
                    </a:lnTo>
                    <a:lnTo>
                      <a:pt x="1587" y="2807"/>
                    </a:lnTo>
                    <a:lnTo>
                      <a:pt x="1560" y="2627"/>
                    </a:lnTo>
                    <a:lnTo>
                      <a:pt x="1560" y="2575"/>
                    </a:lnTo>
                    <a:lnTo>
                      <a:pt x="1743" y="2442"/>
                    </a:lnTo>
                    <a:lnTo>
                      <a:pt x="1768" y="2391"/>
                    </a:lnTo>
                    <a:lnTo>
                      <a:pt x="1819" y="2391"/>
                    </a:lnTo>
                    <a:lnTo>
                      <a:pt x="1768" y="2314"/>
                    </a:lnTo>
                    <a:lnTo>
                      <a:pt x="1791" y="2287"/>
                    </a:lnTo>
                    <a:lnTo>
                      <a:pt x="1791" y="2314"/>
                    </a:lnTo>
                    <a:lnTo>
                      <a:pt x="1819" y="2287"/>
                    </a:lnTo>
                    <a:lnTo>
                      <a:pt x="1819" y="2262"/>
                    </a:lnTo>
                    <a:lnTo>
                      <a:pt x="1871" y="2210"/>
                    </a:lnTo>
                    <a:lnTo>
                      <a:pt x="1900" y="2158"/>
                    </a:lnTo>
                    <a:lnTo>
                      <a:pt x="1975" y="2132"/>
                    </a:lnTo>
                    <a:lnTo>
                      <a:pt x="2027" y="2080"/>
                    </a:lnTo>
                    <a:lnTo>
                      <a:pt x="2004" y="2107"/>
                    </a:lnTo>
                    <a:lnTo>
                      <a:pt x="2004" y="2080"/>
                    </a:lnTo>
                    <a:lnTo>
                      <a:pt x="2078" y="2003"/>
                    </a:lnTo>
                    <a:lnTo>
                      <a:pt x="2107" y="2003"/>
                    </a:lnTo>
                    <a:lnTo>
                      <a:pt x="2130" y="1974"/>
                    </a:lnTo>
                    <a:lnTo>
                      <a:pt x="2107" y="1974"/>
                    </a:lnTo>
                    <a:lnTo>
                      <a:pt x="2078" y="1922"/>
                    </a:lnTo>
                    <a:lnTo>
                      <a:pt x="2107" y="1974"/>
                    </a:lnTo>
                    <a:lnTo>
                      <a:pt x="2130" y="1974"/>
                    </a:lnTo>
                    <a:lnTo>
                      <a:pt x="2184" y="1951"/>
                    </a:lnTo>
                    <a:lnTo>
                      <a:pt x="2159" y="2003"/>
                    </a:lnTo>
                    <a:lnTo>
                      <a:pt x="2184" y="2026"/>
                    </a:lnTo>
                    <a:lnTo>
                      <a:pt x="2236" y="1951"/>
                    </a:lnTo>
                    <a:lnTo>
                      <a:pt x="2288" y="1922"/>
                    </a:lnTo>
                    <a:lnTo>
                      <a:pt x="2184" y="1871"/>
                    </a:lnTo>
                    <a:lnTo>
                      <a:pt x="2184" y="1848"/>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8" name="Freeform 12">
                <a:extLst>
                  <a:ext uri="{FF2B5EF4-FFF2-40B4-BE49-F238E27FC236}">
                    <a16:creationId xmlns:a16="http://schemas.microsoft.com/office/drawing/2014/main" id="{043A62EA-8D75-4C00-A927-9A39B4A31F08}"/>
                  </a:ext>
                </a:extLst>
              </p:cNvPr>
              <p:cNvSpPr>
                <a:spLocks/>
              </p:cNvSpPr>
              <p:nvPr/>
            </p:nvSpPr>
            <p:spPr bwMode="gray">
              <a:xfrm>
                <a:off x="1500" y="563"/>
                <a:ext cx="364" cy="312"/>
              </a:xfrm>
              <a:custGeom>
                <a:avLst/>
                <a:gdLst>
                  <a:gd name="T0" fmla="*/ 26 w 364"/>
                  <a:gd name="T1" fmla="*/ 286 h 312"/>
                  <a:gd name="T2" fmla="*/ 52 w 364"/>
                  <a:gd name="T3" fmla="*/ 286 h 312"/>
                  <a:gd name="T4" fmla="*/ 78 w 364"/>
                  <a:gd name="T5" fmla="*/ 312 h 312"/>
                  <a:gd name="T6" fmla="*/ 118 w 364"/>
                  <a:gd name="T7" fmla="*/ 312 h 312"/>
                  <a:gd name="T8" fmla="*/ 144 w 364"/>
                  <a:gd name="T9" fmla="*/ 300 h 312"/>
                  <a:gd name="T10" fmla="*/ 118 w 364"/>
                  <a:gd name="T11" fmla="*/ 260 h 312"/>
                  <a:gd name="T12" fmla="*/ 156 w 364"/>
                  <a:gd name="T13" fmla="*/ 274 h 312"/>
                  <a:gd name="T14" fmla="*/ 208 w 364"/>
                  <a:gd name="T15" fmla="*/ 248 h 312"/>
                  <a:gd name="T16" fmla="*/ 208 w 364"/>
                  <a:gd name="T17" fmla="*/ 208 h 312"/>
                  <a:gd name="T18" fmla="*/ 222 w 364"/>
                  <a:gd name="T19" fmla="*/ 182 h 312"/>
                  <a:gd name="T20" fmla="*/ 222 w 364"/>
                  <a:gd name="T21" fmla="*/ 170 h 312"/>
                  <a:gd name="T22" fmla="*/ 286 w 364"/>
                  <a:gd name="T23" fmla="*/ 144 h 312"/>
                  <a:gd name="T24" fmla="*/ 338 w 364"/>
                  <a:gd name="T25" fmla="*/ 92 h 312"/>
                  <a:gd name="T26" fmla="*/ 338 w 364"/>
                  <a:gd name="T27" fmla="*/ 78 h 312"/>
                  <a:gd name="T28" fmla="*/ 352 w 364"/>
                  <a:gd name="T29" fmla="*/ 66 h 312"/>
                  <a:gd name="T30" fmla="*/ 352 w 364"/>
                  <a:gd name="T31" fmla="*/ 40 h 312"/>
                  <a:gd name="T32" fmla="*/ 300 w 364"/>
                  <a:gd name="T33" fmla="*/ 14 h 312"/>
                  <a:gd name="T34" fmla="*/ 274 w 364"/>
                  <a:gd name="T35" fmla="*/ 0 h 312"/>
                  <a:gd name="T36" fmla="*/ 234 w 364"/>
                  <a:gd name="T37" fmla="*/ 0 h 312"/>
                  <a:gd name="T38" fmla="*/ 208 w 364"/>
                  <a:gd name="T39" fmla="*/ 26 h 312"/>
                  <a:gd name="T40" fmla="*/ 170 w 364"/>
                  <a:gd name="T41" fmla="*/ 14 h 312"/>
                  <a:gd name="T42" fmla="*/ 170 w 364"/>
                  <a:gd name="T43" fmla="*/ 40 h 312"/>
                  <a:gd name="T44" fmla="*/ 144 w 364"/>
                  <a:gd name="T45" fmla="*/ 66 h 312"/>
                  <a:gd name="T46" fmla="*/ 156 w 364"/>
                  <a:gd name="T47" fmla="*/ 92 h 312"/>
                  <a:gd name="T48" fmla="*/ 182 w 364"/>
                  <a:gd name="T49" fmla="*/ 104 h 312"/>
                  <a:gd name="T50" fmla="*/ 196 w 364"/>
                  <a:gd name="T51" fmla="*/ 118 h 312"/>
                  <a:gd name="T52" fmla="*/ 156 w 364"/>
                  <a:gd name="T53" fmla="*/ 118 h 312"/>
                  <a:gd name="T54" fmla="*/ 144 w 364"/>
                  <a:gd name="T55" fmla="*/ 156 h 312"/>
                  <a:gd name="T56" fmla="*/ 130 w 364"/>
                  <a:gd name="T57" fmla="*/ 144 h 312"/>
                  <a:gd name="T58" fmla="*/ 118 w 364"/>
                  <a:gd name="T59" fmla="*/ 144 h 312"/>
                  <a:gd name="T60" fmla="*/ 104 w 364"/>
                  <a:gd name="T61" fmla="*/ 170 h 312"/>
                  <a:gd name="T62" fmla="*/ 104 w 364"/>
                  <a:gd name="T63" fmla="*/ 196 h 312"/>
                  <a:gd name="T64" fmla="*/ 104 w 364"/>
                  <a:gd name="T65" fmla="*/ 208 h 312"/>
                  <a:gd name="T66" fmla="*/ 66 w 364"/>
                  <a:gd name="T67" fmla="*/ 222 h 312"/>
                  <a:gd name="T68" fmla="*/ 52 w 364"/>
                  <a:gd name="T69" fmla="*/ 234 h 312"/>
                  <a:gd name="T70" fmla="*/ 52 w 364"/>
                  <a:gd name="T71" fmla="*/ 234 h 312"/>
                  <a:gd name="T72" fmla="*/ 26 w 364"/>
                  <a:gd name="T73" fmla="*/ 248 h 312"/>
                  <a:gd name="T74" fmla="*/ 14 w 364"/>
                  <a:gd name="T75" fmla="*/ 234 h 312"/>
                  <a:gd name="T76" fmla="*/ 0 w 364"/>
                  <a:gd name="T77" fmla="*/ 260 h 312"/>
                  <a:gd name="T78" fmla="*/ 14 w 364"/>
                  <a:gd name="T79" fmla="*/ 2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4" h="312">
                    <a:moveTo>
                      <a:pt x="14" y="274"/>
                    </a:moveTo>
                    <a:lnTo>
                      <a:pt x="26" y="286"/>
                    </a:lnTo>
                    <a:lnTo>
                      <a:pt x="40" y="286"/>
                    </a:lnTo>
                    <a:lnTo>
                      <a:pt x="52" y="286"/>
                    </a:lnTo>
                    <a:lnTo>
                      <a:pt x="52" y="312"/>
                    </a:lnTo>
                    <a:lnTo>
                      <a:pt x="78" y="312"/>
                    </a:lnTo>
                    <a:lnTo>
                      <a:pt x="92" y="312"/>
                    </a:lnTo>
                    <a:lnTo>
                      <a:pt x="118" y="312"/>
                    </a:lnTo>
                    <a:lnTo>
                      <a:pt x="130" y="312"/>
                    </a:lnTo>
                    <a:lnTo>
                      <a:pt x="144" y="300"/>
                    </a:lnTo>
                    <a:lnTo>
                      <a:pt x="118" y="274"/>
                    </a:lnTo>
                    <a:lnTo>
                      <a:pt x="118" y="260"/>
                    </a:lnTo>
                    <a:lnTo>
                      <a:pt x="156" y="286"/>
                    </a:lnTo>
                    <a:lnTo>
                      <a:pt x="156" y="274"/>
                    </a:lnTo>
                    <a:lnTo>
                      <a:pt x="182" y="248"/>
                    </a:lnTo>
                    <a:lnTo>
                      <a:pt x="208" y="248"/>
                    </a:lnTo>
                    <a:lnTo>
                      <a:pt x="222" y="234"/>
                    </a:lnTo>
                    <a:lnTo>
                      <a:pt x="208" y="208"/>
                    </a:lnTo>
                    <a:lnTo>
                      <a:pt x="208" y="196"/>
                    </a:lnTo>
                    <a:lnTo>
                      <a:pt x="222" y="182"/>
                    </a:lnTo>
                    <a:lnTo>
                      <a:pt x="208" y="170"/>
                    </a:lnTo>
                    <a:lnTo>
                      <a:pt x="222" y="170"/>
                    </a:lnTo>
                    <a:lnTo>
                      <a:pt x="248" y="156"/>
                    </a:lnTo>
                    <a:lnTo>
                      <a:pt x="286" y="144"/>
                    </a:lnTo>
                    <a:lnTo>
                      <a:pt x="312" y="118"/>
                    </a:lnTo>
                    <a:lnTo>
                      <a:pt x="338" y="92"/>
                    </a:lnTo>
                    <a:lnTo>
                      <a:pt x="352" y="92"/>
                    </a:lnTo>
                    <a:lnTo>
                      <a:pt x="338" y="78"/>
                    </a:lnTo>
                    <a:lnTo>
                      <a:pt x="338" y="66"/>
                    </a:lnTo>
                    <a:lnTo>
                      <a:pt x="352" y="66"/>
                    </a:lnTo>
                    <a:lnTo>
                      <a:pt x="364" y="52"/>
                    </a:lnTo>
                    <a:lnTo>
                      <a:pt x="352" y="40"/>
                    </a:lnTo>
                    <a:lnTo>
                      <a:pt x="326" y="26"/>
                    </a:lnTo>
                    <a:lnTo>
                      <a:pt x="300" y="14"/>
                    </a:lnTo>
                    <a:lnTo>
                      <a:pt x="300" y="26"/>
                    </a:lnTo>
                    <a:lnTo>
                      <a:pt x="274" y="0"/>
                    </a:lnTo>
                    <a:lnTo>
                      <a:pt x="260" y="0"/>
                    </a:lnTo>
                    <a:lnTo>
                      <a:pt x="234" y="0"/>
                    </a:lnTo>
                    <a:lnTo>
                      <a:pt x="222" y="14"/>
                    </a:lnTo>
                    <a:lnTo>
                      <a:pt x="208" y="26"/>
                    </a:lnTo>
                    <a:lnTo>
                      <a:pt x="196" y="14"/>
                    </a:lnTo>
                    <a:lnTo>
                      <a:pt x="170" y="14"/>
                    </a:lnTo>
                    <a:lnTo>
                      <a:pt x="170" y="26"/>
                    </a:lnTo>
                    <a:lnTo>
                      <a:pt x="170" y="40"/>
                    </a:lnTo>
                    <a:lnTo>
                      <a:pt x="156" y="40"/>
                    </a:lnTo>
                    <a:lnTo>
                      <a:pt x="144" y="66"/>
                    </a:lnTo>
                    <a:lnTo>
                      <a:pt x="144" y="78"/>
                    </a:lnTo>
                    <a:lnTo>
                      <a:pt x="156" y="92"/>
                    </a:lnTo>
                    <a:lnTo>
                      <a:pt x="182" y="92"/>
                    </a:lnTo>
                    <a:lnTo>
                      <a:pt x="182" y="104"/>
                    </a:lnTo>
                    <a:lnTo>
                      <a:pt x="208" y="104"/>
                    </a:lnTo>
                    <a:lnTo>
                      <a:pt x="196" y="118"/>
                    </a:lnTo>
                    <a:lnTo>
                      <a:pt x="170" y="118"/>
                    </a:lnTo>
                    <a:lnTo>
                      <a:pt x="156" y="118"/>
                    </a:lnTo>
                    <a:lnTo>
                      <a:pt x="144" y="130"/>
                    </a:lnTo>
                    <a:lnTo>
                      <a:pt x="144" y="156"/>
                    </a:lnTo>
                    <a:lnTo>
                      <a:pt x="156" y="156"/>
                    </a:lnTo>
                    <a:lnTo>
                      <a:pt x="130" y="144"/>
                    </a:lnTo>
                    <a:lnTo>
                      <a:pt x="118" y="130"/>
                    </a:lnTo>
                    <a:lnTo>
                      <a:pt x="118" y="144"/>
                    </a:lnTo>
                    <a:lnTo>
                      <a:pt x="104" y="156"/>
                    </a:lnTo>
                    <a:lnTo>
                      <a:pt x="104" y="170"/>
                    </a:lnTo>
                    <a:lnTo>
                      <a:pt x="118" y="182"/>
                    </a:lnTo>
                    <a:lnTo>
                      <a:pt x="104" y="196"/>
                    </a:lnTo>
                    <a:lnTo>
                      <a:pt x="118" y="208"/>
                    </a:lnTo>
                    <a:lnTo>
                      <a:pt x="104" y="208"/>
                    </a:lnTo>
                    <a:lnTo>
                      <a:pt x="92" y="208"/>
                    </a:lnTo>
                    <a:lnTo>
                      <a:pt x="66" y="222"/>
                    </a:lnTo>
                    <a:lnTo>
                      <a:pt x="52" y="222"/>
                    </a:lnTo>
                    <a:lnTo>
                      <a:pt x="52" y="234"/>
                    </a:lnTo>
                    <a:lnTo>
                      <a:pt x="66" y="234"/>
                    </a:lnTo>
                    <a:lnTo>
                      <a:pt x="52" y="234"/>
                    </a:lnTo>
                    <a:lnTo>
                      <a:pt x="40" y="234"/>
                    </a:lnTo>
                    <a:lnTo>
                      <a:pt x="26" y="248"/>
                    </a:lnTo>
                    <a:lnTo>
                      <a:pt x="26" y="222"/>
                    </a:lnTo>
                    <a:lnTo>
                      <a:pt x="14" y="234"/>
                    </a:lnTo>
                    <a:lnTo>
                      <a:pt x="14" y="248"/>
                    </a:lnTo>
                    <a:lnTo>
                      <a:pt x="0" y="260"/>
                    </a:lnTo>
                    <a:lnTo>
                      <a:pt x="14" y="274"/>
                    </a:lnTo>
                    <a:lnTo>
                      <a:pt x="14" y="274"/>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39" name="Freeform 13">
                <a:extLst>
                  <a:ext uri="{FF2B5EF4-FFF2-40B4-BE49-F238E27FC236}">
                    <a16:creationId xmlns:a16="http://schemas.microsoft.com/office/drawing/2014/main" id="{7471DCF2-84B9-41AD-96D0-6F4C0861C4F4}"/>
                  </a:ext>
                </a:extLst>
              </p:cNvPr>
              <p:cNvSpPr>
                <a:spLocks/>
              </p:cNvSpPr>
              <p:nvPr/>
            </p:nvSpPr>
            <p:spPr bwMode="gray">
              <a:xfrm>
                <a:off x="1500" y="629"/>
                <a:ext cx="92" cy="130"/>
              </a:xfrm>
              <a:custGeom>
                <a:avLst/>
                <a:gdLst>
                  <a:gd name="T0" fmla="*/ 26 w 92"/>
                  <a:gd name="T1" fmla="*/ 130 h 130"/>
                  <a:gd name="T2" fmla="*/ 52 w 92"/>
                  <a:gd name="T3" fmla="*/ 116 h 130"/>
                  <a:gd name="T4" fmla="*/ 66 w 92"/>
                  <a:gd name="T5" fmla="*/ 116 h 130"/>
                  <a:gd name="T6" fmla="*/ 66 w 92"/>
                  <a:gd name="T7" fmla="*/ 104 h 130"/>
                  <a:gd name="T8" fmla="*/ 78 w 92"/>
                  <a:gd name="T9" fmla="*/ 90 h 130"/>
                  <a:gd name="T10" fmla="*/ 78 w 92"/>
                  <a:gd name="T11" fmla="*/ 78 h 130"/>
                  <a:gd name="T12" fmla="*/ 78 w 92"/>
                  <a:gd name="T13" fmla="*/ 52 h 130"/>
                  <a:gd name="T14" fmla="*/ 92 w 92"/>
                  <a:gd name="T15" fmla="*/ 52 h 130"/>
                  <a:gd name="T16" fmla="*/ 92 w 92"/>
                  <a:gd name="T17" fmla="*/ 38 h 130"/>
                  <a:gd name="T18" fmla="*/ 78 w 92"/>
                  <a:gd name="T19" fmla="*/ 52 h 130"/>
                  <a:gd name="T20" fmla="*/ 78 w 92"/>
                  <a:gd name="T21" fmla="*/ 26 h 130"/>
                  <a:gd name="T22" fmla="*/ 78 w 92"/>
                  <a:gd name="T23" fmla="*/ 0 h 130"/>
                  <a:gd name="T24" fmla="*/ 66 w 92"/>
                  <a:gd name="T25" fmla="*/ 0 h 130"/>
                  <a:gd name="T26" fmla="*/ 66 w 92"/>
                  <a:gd name="T27" fmla="*/ 12 h 130"/>
                  <a:gd name="T28" fmla="*/ 40 w 92"/>
                  <a:gd name="T29" fmla="*/ 12 h 130"/>
                  <a:gd name="T30" fmla="*/ 26 w 92"/>
                  <a:gd name="T31" fmla="*/ 38 h 130"/>
                  <a:gd name="T32" fmla="*/ 26 w 92"/>
                  <a:gd name="T33" fmla="*/ 52 h 130"/>
                  <a:gd name="T34" fmla="*/ 26 w 92"/>
                  <a:gd name="T35" fmla="*/ 64 h 130"/>
                  <a:gd name="T36" fmla="*/ 14 w 92"/>
                  <a:gd name="T37" fmla="*/ 64 h 130"/>
                  <a:gd name="T38" fmla="*/ 40 w 92"/>
                  <a:gd name="T39" fmla="*/ 78 h 130"/>
                  <a:gd name="T40" fmla="*/ 40 w 92"/>
                  <a:gd name="T41" fmla="*/ 90 h 130"/>
                  <a:gd name="T42" fmla="*/ 14 w 92"/>
                  <a:gd name="T43" fmla="*/ 90 h 130"/>
                  <a:gd name="T44" fmla="*/ 0 w 92"/>
                  <a:gd name="T45" fmla="*/ 104 h 130"/>
                  <a:gd name="T46" fmla="*/ 0 w 92"/>
                  <a:gd name="T47" fmla="*/ 116 h 130"/>
                  <a:gd name="T48" fmla="*/ 0 w 92"/>
                  <a:gd name="T49" fmla="*/ 130 h 130"/>
                  <a:gd name="T50" fmla="*/ 14 w 92"/>
                  <a:gd name="T51" fmla="*/ 130 h 130"/>
                  <a:gd name="T52" fmla="*/ 26 w 92"/>
                  <a:gd name="T53" fmla="*/ 130 h 130"/>
                  <a:gd name="T54" fmla="*/ 26 w 92"/>
                  <a:gd name="T5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30">
                    <a:moveTo>
                      <a:pt x="26" y="130"/>
                    </a:moveTo>
                    <a:lnTo>
                      <a:pt x="52" y="116"/>
                    </a:lnTo>
                    <a:lnTo>
                      <a:pt x="66" y="116"/>
                    </a:lnTo>
                    <a:lnTo>
                      <a:pt x="66" y="104"/>
                    </a:lnTo>
                    <a:lnTo>
                      <a:pt x="78" y="90"/>
                    </a:lnTo>
                    <a:lnTo>
                      <a:pt x="78" y="78"/>
                    </a:lnTo>
                    <a:lnTo>
                      <a:pt x="78" y="52"/>
                    </a:lnTo>
                    <a:lnTo>
                      <a:pt x="92" y="52"/>
                    </a:lnTo>
                    <a:lnTo>
                      <a:pt x="92" y="38"/>
                    </a:lnTo>
                    <a:lnTo>
                      <a:pt x="78" y="52"/>
                    </a:lnTo>
                    <a:lnTo>
                      <a:pt x="78" y="26"/>
                    </a:lnTo>
                    <a:lnTo>
                      <a:pt x="78" y="0"/>
                    </a:lnTo>
                    <a:lnTo>
                      <a:pt x="66" y="0"/>
                    </a:lnTo>
                    <a:lnTo>
                      <a:pt x="66" y="12"/>
                    </a:lnTo>
                    <a:lnTo>
                      <a:pt x="40" y="12"/>
                    </a:lnTo>
                    <a:lnTo>
                      <a:pt x="26" y="38"/>
                    </a:lnTo>
                    <a:lnTo>
                      <a:pt x="26" y="52"/>
                    </a:lnTo>
                    <a:lnTo>
                      <a:pt x="26" y="64"/>
                    </a:lnTo>
                    <a:lnTo>
                      <a:pt x="14" y="64"/>
                    </a:lnTo>
                    <a:lnTo>
                      <a:pt x="40" y="78"/>
                    </a:lnTo>
                    <a:lnTo>
                      <a:pt x="40" y="90"/>
                    </a:lnTo>
                    <a:lnTo>
                      <a:pt x="14" y="90"/>
                    </a:lnTo>
                    <a:lnTo>
                      <a:pt x="0" y="104"/>
                    </a:lnTo>
                    <a:lnTo>
                      <a:pt x="0" y="116"/>
                    </a:lnTo>
                    <a:lnTo>
                      <a:pt x="0" y="130"/>
                    </a:lnTo>
                    <a:lnTo>
                      <a:pt x="14" y="130"/>
                    </a:lnTo>
                    <a:lnTo>
                      <a:pt x="26" y="130"/>
                    </a:lnTo>
                    <a:lnTo>
                      <a:pt x="26" y="13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0" name="Freeform 14">
                <a:extLst>
                  <a:ext uri="{FF2B5EF4-FFF2-40B4-BE49-F238E27FC236}">
                    <a16:creationId xmlns:a16="http://schemas.microsoft.com/office/drawing/2014/main" id="{89DD9BAF-3BC3-4240-89DC-D4DEF0B22E97}"/>
                  </a:ext>
                </a:extLst>
              </p:cNvPr>
              <p:cNvSpPr>
                <a:spLocks/>
              </p:cNvSpPr>
              <p:nvPr/>
            </p:nvSpPr>
            <p:spPr bwMode="gray">
              <a:xfrm>
                <a:off x="1488" y="641"/>
                <a:ext cx="12" cy="26"/>
              </a:xfrm>
              <a:custGeom>
                <a:avLst/>
                <a:gdLst>
                  <a:gd name="T0" fmla="*/ 12 w 12"/>
                  <a:gd name="T1" fmla="*/ 14 h 26"/>
                  <a:gd name="T2" fmla="*/ 0 w 12"/>
                  <a:gd name="T3" fmla="*/ 0 h 26"/>
                  <a:gd name="T4" fmla="*/ 0 w 12"/>
                  <a:gd name="T5" fmla="*/ 26 h 26"/>
                  <a:gd name="T6" fmla="*/ 12 w 12"/>
                  <a:gd name="T7" fmla="*/ 26 h 26"/>
                  <a:gd name="T8" fmla="*/ 12 w 12"/>
                  <a:gd name="T9" fmla="*/ 14 h 26"/>
                  <a:gd name="T10" fmla="*/ 12 w 12"/>
                  <a:gd name="T11" fmla="*/ 14 h 26"/>
                </a:gdLst>
                <a:ahLst/>
                <a:cxnLst>
                  <a:cxn ang="0">
                    <a:pos x="T0" y="T1"/>
                  </a:cxn>
                  <a:cxn ang="0">
                    <a:pos x="T2" y="T3"/>
                  </a:cxn>
                  <a:cxn ang="0">
                    <a:pos x="T4" y="T5"/>
                  </a:cxn>
                  <a:cxn ang="0">
                    <a:pos x="T6" y="T7"/>
                  </a:cxn>
                  <a:cxn ang="0">
                    <a:pos x="T8" y="T9"/>
                  </a:cxn>
                  <a:cxn ang="0">
                    <a:pos x="T10" y="T11"/>
                  </a:cxn>
                </a:cxnLst>
                <a:rect l="0" t="0" r="r" b="b"/>
                <a:pathLst>
                  <a:path w="12" h="26">
                    <a:moveTo>
                      <a:pt x="12" y="14"/>
                    </a:moveTo>
                    <a:lnTo>
                      <a:pt x="0" y="0"/>
                    </a:lnTo>
                    <a:lnTo>
                      <a:pt x="0" y="26"/>
                    </a:lnTo>
                    <a:lnTo>
                      <a:pt x="12" y="26"/>
                    </a:lnTo>
                    <a:lnTo>
                      <a:pt x="12" y="14"/>
                    </a:lnTo>
                    <a:lnTo>
                      <a:pt x="12" y="14"/>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1" name="Freeform 15">
                <a:extLst>
                  <a:ext uri="{FF2B5EF4-FFF2-40B4-BE49-F238E27FC236}">
                    <a16:creationId xmlns:a16="http://schemas.microsoft.com/office/drawing/2014/main" id="{13D7135F-D81A-4C09-A1FC-813F17D2AC75}"/>
                  </a:ext>
                </a:extLst>
              </p:cNvPr>
              <p:cNvSpPr>
                <a:spLocks/>
              </p:cNvSpPr>
              <p:nvPr/>
            </p:nvSpPr>
            <p:spPr bwMode="gray">
              <a:xfrm>
                <a:off x="1396" y="797"/>
                <a:ext cx="104" cy="170"/>
              </a:xfrm>
              <a:custGeom>
                <a:avLst/>
                <a:gdLst>
                  <a:gd name="T0" fmla="*/ 78 w 104"/>
                  <a:gd name="T1" fmla="*/ 170 h 170"/>
                  <a:gd name="T2" fmla="*/ 92 w 104"/>
                  <a:gd name="T3" fmla="*/ 156 h 170"/>
                  <a:gd name="T4" fmla="*/ 92 w 104"/>
                  <a:gd name="T5" fmla="*/ 144 h 170"/>
                  <a:gd name="T6" fmla="*/ 104 w 104"/>
                  <a:gd name="T7" fmla="*/ 130 h 170"/>
                  <a:gd name="T8" fmla="*/ 104 w 104"/>
                  <a:gd name="T9" fmla="*/ 118 h 170"/>
                  <a:gd name="T10" fmla="*/ 92 w 104"/>
                  <a:gd name="T11" fmla="*/ 104 h 170"/>
                  <a:gd name="T12" fmla="*/ 66 w 104"/>
                  <a:gd name="T13" fmla="*/ 104 h 170"/>
                  <a:gd name="T14" fmla="*/ 52 w 104"/>
                  <a:gd name="T15" fmla="*/ 92 h 170"/>
                  <a:gd name="T16" fmla="*/ 38 w 104"/>
                  <a:gd name="T17" fmla="*/ 78 h 170"/>
                  <a:gd name="T18" fmla="*/ 38 w 104"/>
                  <a:gd name="T19" fmla="*/ 66 h 170"/>
                  <a:gd name="T20" fmla="*/ 52 w 104"/>
                  <a:gd name="T21" fmla="*/ 66 h 170"/>
                  <a:gd name="T22" fmla="*/ 66 w 104"/>
                  <a:gd name="T23" fmla="*/ 66 h 170"/>
                  <a:gd name="T24" fmla="*/ 52 w 104"/>
                  <a:gd name="T25" fmla="*/ 52 h 170"/>
                  <a:gd name="T26" fmla="*/ 66 w 104"/>
                  <a:gd name="T27" fmla="*/ 52 h 170"/>
                  <a:gd name="T28" fmla="*/ 66 w 104"/>
                  <a:gd name="T29" fmla="*/ 26 h 170"/>
                  <a:gd name="T30" fmla="*/ 52 w 104"/>
                  <a:gd name="T31" fmla="*/ 26 h 170"/>
                  <a:gd name="T32" fmla="*/ 38 w 104"/>
                  <a:gd name="T33" fmla="*/ 26 h 170"/>
                  <a:gd name="T34" fmla="*/ 26 w 104"/>
                  <a:gd name="T35" fmla="*/ 26 h 170"/>
                  <a:gd name="T36" fmla="*/ 26 w 104"/>
                  <a:gd name="T37" fmla="*/ 14 h 170"/>
                  <a:gd name="T38" fmla="*/ 0 w 104"/>
                  <a:gd name="T39" fmla="*/ 0 h 170"/>
                  <a:gd name="T40" fmla="*/ 0 w 104"/>
                  <a:gd name="T41" fmla="*/ 14 h 170"/>
                  <a:gd name="T42" fmla="*/ 0 w 104"/>
                  <a:gd name="T43" fmla="*/ 40 h 170"/>
                  <a:gd name="T44" fmla="*/ 12 w 104"/>
                  <a:gd name="T45" fmla="*/ 40 h 170"/>
                  <a:gd name="T46" fmla="*/ 12 w 104"/>
                  <a:gd name="T47" fmla="*/ 52 h 170"/>
                  <a:gd name="T48" fmla="*/ 12 w 104"/>
                  <a:gd name="T49" fmla="*/ 66 h 170"/>
                  <a:gd name="T50" fmla="*/ 12 w 104"/>
                  <a:gd name="T51" fmla="*/ 92 h 170"/>
                  <a:gd name="T52" fmla="*/ 12 w 104"/>
                  <a:gd name="T53" fmla="*/ 104 h 170"/>
                  <a:gd name="T54" fmla="*/ 26 w 104"/>
                  <a:gd name="T55" fmla="*/ 118 h 170"/>
                  <a:gd name="T56" fmla="*/ 26 w 104"/>
                  <a:gd name="T57" fmla="*/ 130 h 170"/>
                  <a:gd name="T58" fmla="*/ 26 w 104"/>
                  <a:gd name="T59" fmla="*/ 144 h 170"/>
                  <a:gd name="T60" fmla="*/ 38 w 104"/>
                  <a:gd name="T61" fmla="*/ 170 h 170"/>
                  <a:gd name="T62" fmla="*/ 52 w 104"/>
                  <a:gd name="T63" fmla="*/ 170 h 170"/>
                  <a:gd name="T64" fmla="*/ 78 w 104"/>
                  <a:gd name="T65" fmla="*/ 170 h 170"/>
                  <a:gd name="T66" fmla="*/ 78 w 104"/>
                  <a:gd name="T6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70">
                    <a:moveTo>
                      <a:pt x="78" y="170"/>
                    </a:moveTo>
                    <a:lnTo>
                      <a:pt x="92" y="156"/>
                    </a:lnTo>
                    <a:lnTo>
                      <a:pt x="92" y="144"/>
                    </a:lnTo>
                    <a:lnTo>
                      <a:pt x="104" y="130"/>
                    </a:lnTo>
                    <a:lnTo>
                      <a:pt x="104" y="118"/>
                    </a:lnTo>
                    <a:lnTo>
                      <a:pt x="92" y="104"/>
                    </a:lnTo>
                    <a:lnTo>
                      <a:pt x="66" y="104"/>
                    </a:lnTo>
                    <a:lnTo>
                      <a:pt x="52" y="92"/>
                    </a:lnTo>
                    <a:lnTo>
                      <a:pt x="38" y="78"/>
                    </a:lnTo>
                    <a:lnTo>
                      <a:pt x="38" y="66"/>
                    </a:lnTo>
                    <a:lnTo>
                      <a:pt x="52" y="66"/>
                    </a:lnTo>
                    <a:lnTo>
                      <a:pt x="66" y="66"/>
                    </a:lnTo>
                    <a:lnTo>
                      <a:pt x="52" y="52"/>
                    </a:lnTo>
                    <a:lnTo>
                      <a:pt x="66" y="52"/>
                    </a:lnTo>
                    <a:lnTo>
                      <a:pt x="66" y="26"/>
                    </a:lnTo>
                    <a:lnTo>
                      <a:pt x="52" y="26"/>
                    </a:lnTo>
                    <a:lnTo>
                      <a:pt x="38" y="26"/>
                    </a:lnTo>
                    <a:lnTo>
                      <a:pt x="26" y="26"/>
                    </a:lnTo>
                    <a:lnTo>
                      <a:pt x="26" y="14"/>
                    </a:lnTo>
                    <a:lnTo>
                      <a:pt x="0" y="0"/>
                    </a:lnTo>
                    <a:lnTo>
                      <a:pt x="0" y="14"/>
                    </a:lnTo>
                    <a:lnTo>
                      <a:pt x="0" y="40"/>
                    </a:lnTo>
                    <a:lnTo>
                      <a:pt x="12" y="40"/>
                    </a:lnTo>
                    <a:lnTo>
                      <a:pt x="12" y="52"/>
                    </a:lnTo>
                    <a:lnTo>
                      <a:pt x="12" y="66"/>
                    </a:lnTo>
                    <a:lnTo>
                      <a:pt x="12" y="92"/>
                    </a:lnTo>
                    <a:lnTo>
                      <a:pt x="12" y="104"/>
                    </a:lnTo>
                    <a:lnTo>
                      <a:pt x="26" y="118"/>
                    </a:lnTo>
                    <a:lnTo>
                      <a:pt x="26" y="130"/>
                    </a:lnTo>
                    <a:lnTo>
                      <a:pt x="26" y="144"/>
                    </a:lnTo>
                    <a:lnTo>
                      <a:pt x="38" y="170"/>
                    </a:lnTo>
                    <a:lnTo>
                      <a:pt x="52" y="170"/>
                    </a:lnTo>
                    <a:lnTo>
                      <a:pt x="78" y="170"/>
                    </a:lnTo>
                    <a:lnTo>
                      <a:pt x="78" y="17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2" name="Freeform 16">
                <a:extLst>
                  <a:ext uri="{FF2B5EF4-FFF2-40B4-BE49-F238E27FC236}">
                    <a16:creationId xmlns:a16="http://schemas.microsoft.com/office/drawing/2014/main" id="{DF41CC32-CB43-40CB-8F8A-C06C64FA8490}"/>
                  </a:ext>
                </a:extLst>
              </p:cNvPr>
              <p:cNvSpPr>
                <a:spLocks/>
              </p:cNvSpPr>
              <p:nvPr/>
            </p:nvSpPr>
            <p:spPr bwMode="gray">
              <a:xfrm>
                <a:off x="1462" y="771"/>
                <a:ext cx="26" cy="26"/>
              </a:xfrm>
              <a:custGeom>
                <a:avLst/>
                <a:gdLst>
                  <a:gd name="T0" fmla="*/ 12 w 26"/>
                  <a:gd name="T1" fmla="*/ 14 h 26"/>
                  <a:gd name="T2" fmla="*/ 0 w 26"/>
                  <a:gd name="T3" fmla="*/ 14 h 26"/>
                  <a:gd name="T4" fmla="*/ 0 w 26"/>
                  <a:gd name="T5" fmla="*/ 26 h 26"/>
                  <a:gd name="T6" fmla="*/ 12 w 26"/>
                  <a:gd name="T7" fmla="*/ 26 h 26"/>
                  <a:gd name="T8" fmla="*/ 26 w 26"/>
                  <a:gd name="T9" fmla="*/ 0 h 26"/>
                  <a:gd name="T10" fmla="*/ 12 w 26"/>
                  <a:gd name="T11" fmla="*/ 14 h 26"/>
                  <a:gd name="T12" fmla="*/ 12 w 26"/>
                  <a:gd name="T13" fmla="*/ 14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2" y="14"/>
                    </a:moveTo>
                    <a:lnTo>
                      <a:pt x="0" y="14"/>
                    </a:lnTo>
                    <a:lnTo>
                      <a:pt x="0" y="26"/>
                    </a:lnTo>
                    <a:lnTo>
                      <a:pt x="12" y="26"/>
                    </a:lnTo>
                    <a:lnTo>
                      <a:pt x="26" y="0"/>
                    </a:lnTo>
                    <a:lnTo>
                      <a:pt x="12" y="14"/>
                    </a:lnTo>
                    <a:lnTo>
                      <a:pt x="12" y="14"/>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3" name="Freeform 17">
                <a:extLst>
                  <a:ext uri="{FF2B5EF4-FFF2-40B4-BE49-F238E27FC236}">
                    <a16:creationId xmlns:a16="http://schemas.microsoft.com/office/drawing/2014/main" id="{E447698B-AB64-41E3-BA73-DEF1A7A6BA03}"/>
                  </a:ext>
                </a:extLst>
              </p:cNvPr>
              <p:cNvSpPr>
                <a:spLocks/>
              </p:cNvSpPr>
              <p:nvPr/>
            </p:nvSpPr>
            <p:spPr bwMode="gray">
              <a:xfrm>
                <a:off x="1370" y="681"/>
                <a:ext cx="38" cy="52"/>
              </a:xfrm>
              <a:custGeom>
                <a:avLst/>
                <a:gdLst>
                  <a:gd name="T0" fmla="*/ 0 w 38"/>
                  <a:gd name="T1" fmla="*/ 12 h 52"/>
                  <a:gd name="T2" fmla="*/ 0 w 38"/>
                  <a:gd name="T3" fmla="*/ 38 h 52"/>
                  <a:gd name="T4" fmla="*/ 12 w 38"/>
                  <a:gd name="T5" fmla="*/ 52 h 52"/>
                  <a:gd name="T6" fmla="*/ 26 w 38"/>
                  <a:gd name="T7" fmla="*/ 38 h 52"/>
                  <a:gd name="T8" fmla="*/ 38 w 38"/>
                  <a:gd name="T9" fmla="*/ 26 h 52"/>
                  <a:gd name="T10" fmla="*/ 26 w 38"/>
                  <a:gd name="T11" fmla="*/ 0 h 52"/>
                  <a:gd name="T12" fmla="*/ 0 w 38"/>
                  <a:gd name="T13" fmla="*/ 12 h 52"/>
                  <a:gd name="T14" fmla="*/ 0 w 38"/>
                  <a:gd name="T15" fmla="*/ 1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2">
                    <a:moveTo>
                      <a:pt x="0" y="12"/>
                    </a:moveTo>
                    <a:lnTo>
                      <a:pt x="0" y="38"/>
                    </a:lnTo>
                    <a:lnTo>
                      <a:pt x="12" y="52"/>
                    </a:lnTo>
                    <a:lnTo>
                      <a:pt x="26" y="38"/>
                    </a:lnTo>
                    <a:lnTo>
                      <a:pt x="38" y="26"/>
                    </a:lnTo>
                    <a:lnTo>
                      <a:pt x="26" y="0"/>
                    </a:lnTo>
                    <a:lnTo>
                      <a:pt x="0" y="12"/>
                    </a:lnTo>
                    <a:lnTo>
                      <a:pt x="0" y="12"/>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4" name="Freeform 18">
                <a:extLst>
                  <a:ext uri="{FF2B5EF4-FFF2-40B4-BE49-F238E27FC236}">
                    <a16:creationId xmlns:a16="http://schemas.microsoft.com/office/drawing/2014/main" id="{0B77EA4C-591F-4EA8-AB0D-68B947BEA7CC}"/>
                  </a:ext>
                </a:extLst>
              </p:cNvPr>
              <p:cNvSpPr>
                <a:spLocks/>
              </p:cNvSpPr>
              <p:nvPr/>
            </p:nvSpPr>
            <p:spPr bwMode="gray">
              <a:xfrm>
                <a:off x="1318" y="655"/>
                <a:ext cx="38" cy="52"/>
              </a:xfrm>
              <a:custGeom>
                <a:avLst/>
                <a:gdLst>
                  <a:gd name="T0" fmla="*/ 26 w 38"/>
                  <a:gd name="T1" fmla="*/ 0 h 52"/>
                  <a:gd name="T2" fmla="*/ 12 w 38"/>
                  <a:gd name="T3" fmla="*/ 12 h 52"/>
                  <a:gd name="T4" fmla="*/ 0 w 38"/>
                  <a:gd name="T5" fmla="*/ 12 h 52"/>
                  <a:gd name="T6" fmla="*/ 0 w 38"/>
                  <a:gd name="T7" fmla="*/ 26 h 52"/>
                  <a:gd name="T8" fmla="*/ 12 w 38"/>
                  <a:gd name="T9" fmla="*/ 38 h 52"/>
                  <a:gd name="T10" fmla="*/ 0 w 38"/>
                  <a:gd name="T11" fmla="*/ 52 h 52"/>
                  <a:gd name="T12" fmla="*/ 12 w 38"/>
                  <a:gd name="T13" fmla="*/ 52 h 52"/>
                  <a:gd name="T14" fmla="*/ 12 w 38"/>
                  <a:gd name="T15" fmla="*/ 38 h 52"/>
                  <a:gd name="T16" fmla="*/ 38 w 38"/>
                  <a:gd name="T17" fmla="*/ 26 h 52"/>
                  <a:gd name="T18" fmla="*/ 38 w 38"/>
                  <a:gd name="T19" fmla="*/ 12 h 52"/>
                  <a:gd name="T20" fmla="*/ 26 w 38"/>
                  <a:gd name="T21" fmla="*/ 0 h 52"/>
                  <a:gd name="T22" fmla="*/ 26 w 38"/>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52">
                    <a:moveTo>
                      <a:pt x="26" y="0"/>
                    </a:moveTo>
                    <a:lnTo>
                      <a:pt x="12" y="12"/>
                    </a:lnTo>
                    <a:lnTo>
                      <a:pt x="0" y="12"/>
                    </a:lnTo>
                    <a:lnTo>
                      <a:pt x="0" y="26"/>
                    </a:lnTo>
                    <a:lnTo>
                      <a:pt x="12" y="38"/>
                    </a:lnTo>
                    <a:lnTo>
                      <a:pt x="0" y="52"/>
                    </a:lnTo>
                    <a:lnTo>
                      <a:pt x="12" y="52"/>
                    </a:lnTo>
                    <a:lnTo>
                      <a:pt x="12" y="38"/>
                    </a:lnTo>
                    <a:lnTo>
                      <a:pt x="38" y="26"/>
                    </a:lnTo>
                    <a:lnTo>
                      <a:pt x="38" y="12"/>
                    </a:lnTo>
                    <a:lnTo>
                      <a:pt x="26" y="0"/>
                    </a:lnTo>
                    <a:lnTo>
                      <a:pt x="26" y="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5" name="Freeform 19">
                <a:extLst>
                  <a:ext uri="{FF2B5EF4-FFF2-40B4-BE49-F238E27FC236}">
                    <a16:creationId xmlns:a16="http://schemas.microsoft.com/office/drawing/2014/main" id="{765BF71E-77BA-4815-B05A-64C20A0572F7}"/>
                  </a:ext>
                </a:extLst>
              </p:cNvPr>
              <p:cNvSpPr>
                <a:spLocks/>
              </p:cNvSpPr>
              <p:nvPr/>
            </p:nvSpPr>
            <p:spPr bwMode="gray">
              <a:xfrm>
                <a:off x="1200" y="2176"/>
                <a:ext cx="247" cy="101"/>
              </a:xfrm>
              <a:custGeom>
                <a:avLst/>
                <a:gdLst>
                  <a:gd name="T0" fmla="*/ 131 w 495"/>
                  <a:gd name="T1" fmla="*/ 48 h 204"/>
                  <a:gd name="T2" fmla="*/ 236 w 495"/>
                  <a:gd name="T3" fmla="*/ 100 h 204"/>
                  <a:gd name="T4" fmla="*/ 263 w 495"/>
                  <a:gd name="T5" fmla="*/ 100 h 204"/>
                  <a:gd name="T6" fmla="*/ 311 w 495"/>
                  <a:gd name="T7" fmla="*/ 156 h 204"/>
                  <a:gd name="T8" fmla="*/ 311 w 495"/>
                  <a:gd name="T9" fmla="*/ 181 h 204"/>
                  <a:gd name="T10" fmla="*/ 467 w 495"/>
                  <a:gd name="T11" fmla="*/ 204 h 204"/>
                  <a:gd name="T12" fmla="*/ 495 w 495"/>
                  <a:gd name="T13" fmla="*/ 181 h 204"/>
                  <a:gd name="T14" fmla="*/ 444 w 495"/>
                  <a:gd name="T15" fmla="*/ 156 h 204"/>
                  <a:gd name="T16" fmla="*/ 444 w 495"/>
                  <a:gd name="T17" fmla="*/ 129 h 204"/>
                  <a:gd name="T18" fmla="*/ 340 w 495"/>
                  <a:gd name="T19" fmla="*/ 100 h 204"/>
                  <a:gd name="T20" fmla="*/ 288 w 495"/>
                  <a:gd name="T21" fmla="*/ 48 h 204"/>
                  <a:gd name="T22" fmla="*/ 131 w 495"/>
                  <a:gd name="T23" fmla="*/ 0 h 204"/>
                  <a:gd name="T24" fmla="*/ 27 w 495"/>
                  <a:gd name="T25" fmla="*/ 23 h 204"/>
                  <a:gd name="T26" fmla="*/ 0 w 495"/>
                  <a:gd name="T27" fmla="*/ 48 h 204"/>
                  <a:gd name="T28" fmla="*/ 52 w 495"/>
                  <a:gd name="T29" fmla="*/ 48 h 204"/>
                  <a:gd name="T30" fmla="*/ 104 w 495"/>
                  <a:gd name="T31" fmla="*/ 23 h 204"/>
                  <a:gd name="T32" fmla="*/ 131 w 495"/>
                  <a:gd name="T33" fmla="*/ 4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5" h="204">
                    <a:moveTo>
                      <a:pt x="131" y="48"/>
                    </a:moveTo>
                    <a:lnTo>
                      <a:pt x="236" y="100"/>
                    </a:lnTo>
                    <a:lnTo>
                      <a:pt x="263" y="100"/>
                    </a:lnTo>
                    <a:lnTo>
                      <a:pt x="311" y="156"/>
                    </a:lnTo>
                    <a:lnTo>
                      <a:pt x="311" y="181"/>
                    </a:lnTo>
                    <a:lnTo>
                      <a:pt x="467" y="204"/>
                    </a:lnTo>
                    <a:lnTo>
                      <a:pt x="495" y="181"/>
                    </a:lnTo>
                    <a:lnTo>
                      <a:pt x="444" y="156"/>
                    </a:lnTo>
                    <a:lnTo>
                      <a:pt x="444" y="129"/>
                    </a:lnTo>
                    <a:lnTo>
                      <a:pt x="340" y="100"/>
                    </a:lnTo>
                    <a:lnTo>
                      <a:pt x="288" y="48"/>
                    </a:lnTo>
                    <a:lnTo>
                      <a:pt x="131" y="0"/>
                    </a:lnTo>
                    <a:lnTo>
                      <a:pt x="27" y="23"/>
                    </a:lnTo>
                    <a:lnTo>
                      <a:pt x="0" y="48"/>
                    </a:lnTo>
                    <a:lnTo>
                      <a:pt x="52" y="48"/>
                    </a:lnTo>
                    <a:lnTo>
                      <a:pt x="104" y="23"/>
                    </a:lnTo>
                    <a:lnTo>
                      <a:pt x="131" y="48"/>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6" name="Freeform 20">
                <a:extLst>
                  <a:ext uri="{FF2B5EF4-FFF2-40B4-BE49-F238E27FC236}">
                    <a16:creationId xmlns:a16="http://schemas.microsoft.com/office/drawing/2014/main" id="{548AB497-2D97-4FA7-9333-5EDD08ACA4D8}"/>
                  </a:ext>
                </a:extLst>
              </p:cNvPr>
              <p:cNvSpPr>
                <a:spLocks/>
              </p:cNvSpPr>
              <p:nvPr/>
            </p:nvSpPr>
            <p:spPr bwMode="gray">
              <a:xfrm>
                <a:off x="1331" y="2292"/>
                <a:ext cx="50" cy="26"/>
              </a:xfrm>
              <a:custGeom>
                <a:avLst/>
                <a:gdLst>
                  <a:gd name="T0" fmla="*/ 48 w 100"/>
                  <a:gd name="T1" fmla="*/ 27 h 52"/>
                  <a:gd name="T2" fmla="*/ 25 w 100"/>
                  <a:gd name="T3" fmla="*/ 0 h 52"/>
                  <a:gd name="T4" fmla="*/ 0 w 100"/>
                  <a:gd name="T5" fmla="*/ 0 h 52"/>
                  <a:gd name="T6" fmla="*/ 48 w 100"/>
                  <a:gd name="T7" fmla="*/ 52 h 52"/>
                  <a:gd name="T8" fmla="*/ 77 w 100"/>
                  <a:gd name="T9" fmla="*/ 52 h 52"/>
                  <a:gd name="T10" fmla="*/ 100 w 100"/>
                  <a:gd name="T11" fmla="*/ 52 h 52"/>
                  <a:gd name="T12" fmla="*/ 77 w 100"/>
                  <a:gd name="T13" fmla="*/ 27 h 52"/>
                  <a:gd name="T14" fmla="*/ 48 w 100"/>
                  <a:gd name="T15" fmla="*/ 27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52">
                    <a:moveTo>
                      <a:pt x="48" y="27"/>
                    </a:moveTo>
                    <a:lnTo>
                      <a:pt x="25" y="0"/>
                    </a:lnTo>
                    <a:lnTo>
                      <a:pt x="0" y="0"/>
                    </a:lnTo>
                    <a:lnTo>
                      <a:pt x="48" y="52"/>
                    </a:lnTo>
                    <a:lnTo>
                      <a:pt x="77" y="52"/>
                    </a:lnTo>
                    <a:lnTo>
                      <a:pt x="100" y="52"/>
                    </a:lnTo>
                    <a:lnTo>
                      <a:pt x="77" y="27"/>
                    </a:lnTo>
                    <a:lnTo>
                      <a:pt x="48" y="27"/>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7" name="Freeform 21">
                <a:extLst>
                  <a:ext uri="{FF2B5EF4-FFF2-40B4-BE49-F238E27FC236}">
                    <a16:creationId xmlns:a16="http://schemas.microsoft.com/office/drawing/2014/main" id="{90CC673B-0E72-4F6A-8367-8A46555F349F}"/>
                  </a:ext>
                </a:extLst>
              </p:cNvPr>
              <p:cNvSpPr>
                <a:spLocks/>
              </p:cNvSpPr>
              <p:nvPr/>
            </p:nvSpPr>
            <p:spPr bwMode="gray">
              <a:xfrm>
                <a:off x="1226" y="2200"/>
                <a:ext cx="25" cy="14"/>
              </a:xfrm>
              <a:custGeom>
                <a:avLst/>
                <a:gdLst>
                  <a:gd name="T0" fmla="*/ 52 w 52"/>
                  <a:gd name="T1" fmla="*/ 29 h 29"/>
                  <a:gd name="T2" fmla="*/ 27 w 52"/>
                  <a:gd name="T3" fmla="*/ 0 h 29"/>
                  <a:gd name="T4" fmla="*/ 0 w 52"/>
                  <a:gd name="T5" fmla="*/ 29 h 29"/>
                  <a:gd name="T6" fmla="*/ 52 w 52"/>
                  <a:gd name="T7" fmla="*/ 29 h 29"/>
                </a:gdLst>
                <a:ahLst/>
                <a:cxnLst>
                  <a:cxn ang="0">
                    <a:pos x="T0" y="T1"/>
                  </a:cxn>
                  <a:cxn ang="0">
                    <a:pos x="T2" y="T3"/>
                  </a:cxn>
                  <a:cxn ang="0">
                    <a:pos x="T4" y="T5"/>
                  </a:cxn>
                  <a:cxn ang="0">
                    <a:pos x="T6" y="T7"/>
                  </a:cxn>
                </a:cxnLst>
                <a:rect l="0" t="0" r="r" b="b"/>
                <a:pathLst>
                  <a:path w="52" h="29">
                    <a:moveTo>
                      <a:pt x="52" y="29"/>
                    </a:moveTo>
                    <a:lnTo>
                      <a:pt x="27" y="0"/>
                    </a:lnTo>
                    <a:lnTo>
                      <a:pt x="0" y="29"/>
                    </a:lnTo>
                    <a:lnTo>
                      <a:pt x="52" y="29"/>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8" name="Freeform 22">
                <a:extLst>
                  <a:ext uri="{FF2B5EF4-FFF2-40B4-BE49-F238E27FC236}">
                    <a16:creationId xmlns:a16="http://schemas.microsoft.com/office/drawing/2014/main" id="{FBB68F15-DE4F-4E35-AE76-ACE5097902DE}"/>
                  </a:ext>
                </a:extLst>
              </p:cNvPr>
              <p:cNvSpPr>
                <a:spLocks/>
              </p:cNvSpPr>
              <p:nvPr/>
            </p:nvSpPr>
            <p:spPr bwMode="gray">
              <a:xfrm>
                <a:off x="1695" y="1512"/>
                <a:ext cx="116" cy="116"/>
              </a:xfrm>
              <a:custGeom>
                <a:avLst/>
                <a:gdLst>
                  <a:gd name="T0" fmla="*/ 233 w 233"/>
                  <a:gd name="T1" fmla="*/ 128 h 232"/>
                  <a:gd name="T2" fmla="*/ 210 w 233"/>
                  <a:gd name="T3" fmla="*/ 103 h 232"/>
                  <a:gd name="T4" fmla="*/ 210 w 233"/>
                  <a:gd name="T5" fmla="*/ 76 h 232"/>
                  <a:gd name="T6" fmla="*/ 129 w 233"/>
                  <a:gd name="T7" fmla="*/ 76 h 232"/>
                  <a:gd name="T8" fmla="*/ 104 w 233"/>
                  <a:gd name="T9" fmla="*/ 103 h 232"/>
                  <a:gd name="T10" fmla="*/ 129 w 233"/>
                  <a:gd name="T11" fmla="*/ 25 h 232"/>
                  <a:gd name="T12" fmla="*/ 104 w 233"/>
                  <a:gd name="T13" fmla="*/ 0 h 232"/>
                  <a:gd name="T14" fmla="*/ 52 w 233"/>
                  <a:gd name="T15" fmla="*/ 128 h 232"/>
                  <a:gd name="T16" fmla="*/ 0 w 233"/>
                  <a:gd name="T17" fmla="*/ 157 h 232"/>
                  <a:gd name="T18" fmla="*/ 52 w 233"/>
                  <a:gd name="T19" fmla="*/ 157 h 232"/>
                  <a:gd name="T20" fmla="*/ 52 w 233"/>
                  <a:gd name="T21" fmla="*/ 209 h 232"/>
                  <a:gd name="T22" fmla="*/ 77 w 233"/>
                  <a:gd name="T23" fmla="*/ 232 h 232"/>
                  <a:gd name="T24" fmla="*/ 129 w 233"/>
                  <a:gd name="T25" fmla="*/ 209 h 232"/>
                  <a:gd name="T26" fmla="*/ 158 w 233"/>
                  <a:gd name="T27" fmla="*/ 209 h 232"/>
                  <a:gd name="T28" fmla="*/ 181 w 233"/>
                  <a:gd name="T29" fmla="*/ 232 h 232"/>
                  <a:gd name="T30" fmla="*/ 210 w 233"/>
                  <a:gd name="T31" fmla="*/ 209 h 232"/>
                  <a:gd name="T32" fmla="*/ 233 w 233"/>
                  <a:gd name="T33" fmla="*/ 232 h 232"/>
                  <a:gd name="T34" fmla="*/ 233 w 233"/>
                  <a:gd name="T35" fmla="*/ 157 h 232"/>
                  <a:gd name="T36" fmla="*/ 210 w 233"/>
                  <a:gd name="T37" fmla="*/ 157 h 232"/>
                  <a:gd name="T38" fmla="*/ 233 w 233"/>
                  <a:gd name="T39" fmla="*/ 12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 h="232">
                    <a:moveTo>
                      <a:pt x="233" y="128"/>
                    </a:moveTo>
                    <a:lnTo>
                      <a:pt x="210" y="103"/>
                    </a:lnTo>
                    <a:lnTo>
                      <a:pt x="210" y="76"/>
                    </a:lnTo>
                    <a:lnTo>
                      <a:pt x="129" y="76"/>
                    </a:lnTo>
                    <a:lnTo>
                      <a:pt x="104" y="103"/>
                    </a:lnTo>
                    <a:lnTo>
                      <a:pt x="129" y="25"/>
                    </a:lnTo>
                    <a:lnTo>
                      <a:pt x="104" y="0"/>
                    </a:lnTo>
                    <a:lnTo>
                      <a:pt x="52" y="128"/>
                    </a:lnTo>
                    <a:lnTo>
                      <a:pt x="0" y="157"/>
                    </a:lnTo>
                    <a:lnTo>
                      <a:pt x="52" y="157"/>
                    </a:lnTo>
                    <a:lnTo>
                      <a:pt x="52" y="209"/>
                    </a:lnTo>
                    <a:lnTo>
                      <a:pt x="77" y="232"/>
                    </a:lnTo>
                    <a:lnTo>
                      <a:pt x="129" y="209"/>
                    </a:lnTo>
                    <a:lnTo>
                      <a:pt x="158" y="209"/>
                    </a:lnTo>
                    <a:lnTo>
                      <a:pt x="181" y="232"/>
                    </a:lnTo>
                    <a:lnTo>
                      <a:pt x="210" y="209"/>
                    </a:lnTo>
                    <a:lnTo>
                      <a:pt x="233" y="232"/>
                    </a:lnTo>
                    <a:lnTo>
                      <a:pt x="233" y="157"/>
                    </a:lnTo>
                    <a:lnTo>
                      <a:pt x="210" y="157"/>
                    </a:lnTo>
                    <a:lnTo>
                      <a:pt x="233" y="128"/>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49" name="Freeform 23">
                <a:extLst>
                  <a:ext uri="{FF2B5EF4-FFF2-40B4-BE49-F238E27FC236}">
                    <a16:creationId xmlns:a16="http://schemas.microsoft.com/office/drawing/2014/main" id="{32588BA7-26AF-4F2E-B1EB-DBBFDF9EC1D7}"/>
                  </a:ext>
                </a:extLst>
              </p:cNvPr>
              <p:cNvSpPr>
                <a:spLocks/>
              </p:cNvSpPr>
              <p:nvPr/>
            </p:nvSpPr>
            <p:spPr bwMode="gray">
              <a:xfrm>
                <a:off x="1329" y="1213"/>
                <a:ext cx="66" cy="51"/>
              </a:xfrm>
              <a:custGeom>
                <a:avLst/>
                <a:gdLst>
                  <a:gd name="T0" fmla="*/ 52 w 133"/>
                  <a:gd name="T1" fmla="*/ 52 h 104"/>
                  <a:gd name="T2" fmla="*/ 81 w 133"/>
                  <a:gd name="T3" fmla="*/ 79 h 104"/>
                  <a:gd name="T4" fmla="*/ 104 w 133"/>
                  <a:gd name="T5" fmla="*/ 104 h 104"/>
                  <a:gd name="T6" fmla="*/ 133 w 133"/>
                  <a:gd name="T7" fmla="*/ 79 h 104"/>
                  <a:gd name="T8" fmla="*/ 133 w 133"/>
                  <a:gd name="T9" fmla="*/ 52 h 104"/>
                  <a:gd name="T10" fmla="*/ 104 w 133"/>
                  <a:gd name="T11" fmla="*/ 52 h 104"/>
                  <a:gd name="T12" fmla="*/ 81 w 133"/>
                  <a:gd name="T13" fmla="*/ 27 h 104"/>
                  <a:gd name="T14" fmla="*/ 52 w 133"/>
                  <a:gd name="T15" fmla="*/ 0 h 104"/>
                  <a:gd name="T16" fmla="*/ 29 w 133"/>
                  <a:gd name="T17" fmla="*/ 0 h 104"/>
                  <a:gd name="T18" fmla="*/ 0 w 133"/>
                  <a:gd name="T19" fmla="*/ 52 h 104"/>
                  <a:gd name="T20" fmla="*/ 29 w 133"/>
                  <a:gd name="T21" fmla="*/ 104 h 104"/>
                  <a:gd name="T22" fmla="*/ 52 w 133"/>
                  <a:gd name="T23" fmla="*/ 79 h 104"/>
                  <a:gd name="T24" fmla="*/ 52 w 133"/>
                  <a:gd name="T25"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104">
                    <a:moveTo>
                      <a:pt x="52" y="52"/>
                    </a:moveTo>
                    <a:lnTo>
                      <a:pt x="81" y="79"/>
                    </a:lnTo>
                    <a:lnTo>
                      <a:pt x="104" y="104"/>
                    </a:lnTo>
                    <a:lnTo>
                      <a:pt x="133" y="79"/>
                    </a:lnTo>
                    <a:lnTo>
                      <a:pt x="133" y="52"/>
                    </a:lnTo>
                    <a:lnTo>
                      <a:pt x="104" y="52"/>
                    </a:lnTo>
                    <a:lnTo>
                      <a:pt x="81" y="27"/>
                    </a:lnTo>
                    <a:lnTo>
                      <a:pt x="52" y="0"/>
                    </a:lnTo>
                    <a:lnTo>
                      <a:pt x="29" y="0"/>
                    </a:lnTo>
                    <a:lnTo>
                      <a:pt x="0" y="52"/>
                    </a:lnTo>
                    <a:lnTo>
                      <a:pt x="29" y="104"/>
                    </a:lnTo>
                    <a:lnTo>
                      <a:pt x="52" y="79"/>
                    </a:lnTo>
                    <a:lnTo>
                      <a:pt x="52"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0" name="Freeform 24">
                <a:extLst>
                  <a:ext uri="{FF2B5EF4-FFF2-40B4-BE49-F238E27FC236}">
                    <a16:creationId xmlns:a16="http://schemas.microsoft.com/office/drawing/2014/main" id="{CBD207E1-2C5C-4F49-B027-53077A9D6A46}"/>
                  </a:ext>
                </a:extLst>
              </p:cNvPr>
              <p:cNvSpPr>
                <a:spLocks/>
              </p:cNvSpPr>
              <p:nvPr/>
            </p:nvSpPr>
            <p:spPr bwMode="gray">
              <a:xfrm>
                <a:off x="1069" y="901"/>
                <a:ext cx="78" cy="66"/>
              </a:xfrm>
              <a:custGeom>
                <a:avLst/>
                <a:gdLst>
                  <a:gd name="T0" fmla="*/ 81 w 156"/>
                  <a:gd name="T1" fmla="*/ 103 h 132"/>
                  <a:gd name="T2" fmla="*/ 156 w 156"/>
                  <a:gd name="T3" fmla="*/ 103 h 132"/>
                  <a:gd name="T4" fmla="*/ 133 w 156"/>
                  <a:gd name="T5" fmla="*/ 0 h 132"/>
                  <a:gd name="T6" fmla="*/ 104 w 156"/>
                  <a:gd name="T7" fmla="*/ 0 h 132"/>
                  <a:gd name="T8" fmla="*/ 52 w 156"/>
                  <a:gd name="T9" fmla="*/ 51 h 132"/>
                  <a:gd name="T10" fmla="*/ 0 w 156"/>
                  <a:gd name="T11" fmla="*/ 78 h 132"/>
                  <a:gd name="T12" fmla="*/ 0 w 156"/>
                  <a:gd name="T13" fmla="*/ 132 h 132"/>
                  <a:gd name="T14" fmla="*/ 52 w 156"/>
                  <a:gd name="T15" fmla="*/ 132 h 132"/>
                  <a:gd name="T16" fmla="*/ 81 w 156"/>
                  <a:gd name="T17" fmla="*/ 10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32">
                    <a:moveTo>
                      <a:pt x="81" y="103"/>
                    </a:moveTo>
                    <a:lnTo>
                      <a:pt x="156" y="103"/>
                    </a:lnTo>
                    <a:lnTo>
                      <a:pt x="133" y="0"/>
                    </a:lnTo>
                    <a:lnTo>
                      <a:pt x="104" y="0"/>
                    </a:lnTo>
                    <a:lnTo>
                      <a:pt x="52" y="51"/>
                    </a:lnTo>
                    <a:lnTo>
                      <a:pt x="0" y="78"/>
                    </a:lnTo>
                    <a:lnTo>
                      <a:pt x="0" y="132"/>
                    </a:lnTo>
                    <a:lnTo>
                      <a:pt x="52" y="132"/>
                    </a:lnTo>
                    <a:lnTo>
                      <a:pt x="81" y="10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1" name="Freeform 25">
                <a:extLst>
                  <a:ext uri="{FF2B5EF4-FFF2-40B4-BE49-F238E27FC236}">
                    <a16:creationId xmlns:a16="http://schemas.microsoft.com/office/drawing/2014/main" id="{ED2EC721-24D6-482B-A0EB-3FA29C74EC8D}"/>
                  </a:ext>
                </a:extLst>
              </p:cNvPr>
              <p:cNvSpPr>
                <a:spLocks/>
              </p:cNvSpPr>
              <p:nvPr/>
            </p:nvSpPr>
            <p:spPr bwMode="gray">
              <a:xfrm>
                <a:off x="1095" y="967"/>
                <a:ext cx="118" cy="115"/>
              </a:xfrm>
              <a:custGeom>
                <a:avLst/>
                <a:gdLst>
                  <a:gd name="T0" fmla="*/ 209 w 236"/>
                  <a:gd name="T1" fmla="*/ 23 h 230"/>
                  <a:gd name="T2" fmla="*/ 184 w 236"/>
                  <a:gd name="T3" fmla="*/ 75 h 230"/>
                  <a:gd name="T4" fmla="*/ 184 w 236"/>
                  <a:gd name="T5" fmla="*/ 23 h 230"/>
                  <a:gd name="T6" fmla="*/ 133 w 236"/>
                  <a:gd name="T7" fmla="*/ 23 h 230"/>
                  <a:gd name="T8" fmla="*/ 104 w 236"/>
                  <a:gd name="T9" fmla="*/ 0 h 230"/>
                  <a:gd name="T10" fmla="*/ 52 w 236"/>
                  <a:gd name="T11" fmla="*/ 0 h 230"/>
                  <a:gd name="T12" fmla="*/ 29 w 236"/>
                  <a:gd name="T13" fmla="*/ 23 h 230"/>
                  <a:gd name="T14" fmla="*/ 29 w 236"/>
                  <a:gd name="T15" fmla="*/ 75 h 230"/>
                  <a:gd name="T16" fmla="*/ 52 w 236"/>
                  <a:gd name="T17" fmla="*/ 104 h 230"/>
                  <a:gd name="T18" fmla="*/ 0 w 236"/>
                  <a:gd name="T19" fmla="*/ 104 h 230"/>
                  <a:gd name="T20" fmla="*/ 52 w 236"/>
                  <a:gd name="T21" fmla="*/ 127 h 230"/>
                  <a:gd name="T22" fmla="*/ 52 w 236"/>
                  <a:gd name="T23" fmla="*/ 178 h 230"/>
                  <a:gd name="T24" fmla="*/ 133 w 236"/>
                  <a:gd name="T25" fmla="*/ 207 h 230"/>
                  <a:gd name="T26" fmla="*/ 184 w 236"/>
                  <a:gd name="T27" fmla="*/ 230 h 230"/>
                  <a:gd name="T28" fmla="*/ 236 w 236"/>
                  <a:gd name="T29" fmla="*/ 230 h 230"/>
                  <a:gd name="T30" fmla="*/ 209 w 236"/>
                  <a:gd name="T31" fmla="*/ 207 h 230"/>
                  <a:gd name="T32" fmla="*/ 236 w 236"/>
                  <a:gd name="T33" fmla="*/ 207 h 230"/>
                  <a:gd name="T34" fmla="*/ 209 w 236"/>
                  <a:gd name="T35" fmla="*/ 127 h 230"/>
                  <a:gd name="T36" fmla="*/ 236 w 236"/>
                  <a:gd name="T37" fmla="*/ 52 h 230"/>
                  <a:gd name="T38" fmla="*/ 209 w 236"/>
                  <a:gd name="T39"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30">
                    <a:moveTo>
                      <a:pt x="209" y="23"/>
                    </a:moveTo>
                    <a:lnTo>
                      <a:pt x="184" y="75"/>
                    </a:lnTo>
                    <a:lnTo>
                      <a:pt x="184" y="23"/>
                    </a:lnTo>
                    <a:lnTo>
                      <a:pt x="133" y="23"/>
                    </a:lnTo>
                    <a:lnTo>
                      <a:pt x="104" y="0"/>
                    </a:lnTo>
                    <a:lnTo>
                      <a:pt x="52" y="0"/>
                    </a:lnTo>
                    <a:lnTo>
                      <a:pt x="29" y="23"/>
                    </a:lnTo>
                    <a:lnTo>
                      <a:pt x="29" y="75"/>
                    </a:lnTo>
                    <a:lnTo>
                      <a:pt x="52" y="104"/>
                    </a:lnTo>
                    <a:lnTo>
                      <a:pt x="0" y="104"/>
                    </a:lnTo>
                    <a:lnTo>
                      <a:pt x="52" y="127"/>
                    </a:lnTo>
                    <a:lnTo>
                      <a:pt x="52" y="178"/>
                    </a:lnTo>
                    <a:lnTo>
                      <a:pt x="133" y="207"/>
                    </a:lnTo>
                    <a:lnTo>
                      <a:pt x="184" y="230"/>
                    </a:lnTo>
                    <a:lnTo>
                      <a:pt x="236" y="230"/>
                    </a:lnTo>
                    <a:lnTo>
                      <a:pt x="209" y="207"/>
                    </a:lnTo>
                    <a:lnTo>
                      <a:pt x="236" y="207"/>
                    </a:lnTo>
                    <a:lnTo>
                      <a:pt x="209" y="127"/>
                    </a:lnTo>
                    <a:lnTo>
                      <a:pt x="236" y="52"/>
                    </a:lnTo>
                    <a:lnTo>
                      <a:pt x="209" y="2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2" name="Freeform 26">
                <a:extLst>
                  <a:ext uri="{FF2B5EF4-FFF2-40B4-BE49-F238E27FC236}">
                    <a16:creationId xmlns:a16="http://schemas.microsoft.com/office/drawing/2014/main" id="{9F92D51F-D7A7-469F-94E6-BFB67D82050E}"/>
                  </a:ext>
                </a:extLst>
              </p:cNvPr>
              <p:cNvSpPr>
                <a:spLocks/>
              </p:cNvSpPr>
              <p:nvPr/>
            </p:nvSpPr>
            <p:spPr bwMode="gray">
              <a:xfrm>
                <a:off x="1303" y="1019"/>
                <a:ext cx="274" cy="286"/>
              </a:xfrm>
              <a:custGeom>
                <a:avLst/>
                <a:gdLst>
                  <a:gd name="T0" fmla="*/ 207 w 546"/>
                  <a:gd name="T1" fmla="*/ 51 h 571"/>
                  <a:gd name="T2" fmla="*/ 155 w 546"/>
                  <a:gd name="T3" fmla="*/ 23 h 571"/>
                  <a:gd name="T4" fmla="*/ 103 w 546"/>
                  <a:gd name="T5" fmla="*/ 23 h 571"/>
                  <a:gd name="T6" fmla="*/ 103 w 546"/>
                  <a:gd name="T7" fmla="*/ 74 h 571"/>
                  <a:gd name="T8" fmla="*/ 80 w 546"/>
                  <a:gd name="T9" fmla="*/ 51 h 571"/>
                  <a:gd name="T10" fmla="*/ 80 w 546"/>
                  <a:gd name="T11" fmla="*/ 23 h 571"/>
                  <a:gd name="T12" fmla="*/ 80 w 546"/>
                  <a:gd name="T13" fmla="*/ 0 h 571"/>
                  <a:gd name="T14" fmla="*/ 51 w 546"/>
                  <a:gd name="T15" fmla="*/ 23 h 571"/>
                  <a:gd name="T16" fmla="*/ 28 w 546"/>
                  <a:gd name="T17" fmla="*/ 23 h 571"/>
                  <a:gd name="T18" fmla="*/ 0 w 546"/>
                  <a:gd name="T19" fmla="*/ 51 h 571"/>
                  <a:gd name="T20" fmla="*/ 51 w 546"/>
                  <a:gd name="T21" fmla="*/ 103 h 571"/>
                  <a:gd name="T22" fmla="*/ 28 w 546"/>
                  <a:gd name="T23" fmla="*/ 103 h 571"/>
                  <a:gd name="T24" fmla="*/ 51 w 546"/>
                  <a:gd name="T25" fmla="*/ 155 h 571"/>
                  <a:gd name="T26" fmla="*/ 103 w 546"/>
                  <a:gd name="T27" fmla="*/ 155 h 571"/>
                  <a:gd name="T28" fmla="*/ 184 w 546"/>
                  <a:gd name="T29" fmla="*/ 207 h 571"/>
                  <a:gd name="T30" fmla="*/ 184 w 546"/>
                  <a:gd name="T31" fmla="*/ 178 h 571"/>
                  <a:gd name="T32" fmla="*/ 184 w 546"/>
                  <a:gd name="T33" fmla="*/ 126 h 571"/>
                  <a:gd name="T34" fmla="*/ 207 w 546"/>
                  <a:gd name="T35" fmla="*/ 155 h 571"/>
                  <a:gd name="T36" fmla="*/ 207 w 546"/>
                  <a:gd name="T37" fmla="*/ 178 h 571"/>
                  <a:gd name="T38" fmla="*/ 287 w 546"/>
                  <a:gd name="T39" fmla="*/ 207 h 571"/>
                  <a:gd name="T40" fmla="*/ 259 w 546"/>
                  <a:gd name="T41" fmla="*/ 232 h 571"/>
                  <a:gd name="T42" fmla="*/ 316 w 546"/>
                  <a:gd name="T43" fmla="*/ 284 h 571"/>
                  <a:gd name="T44" fmla="*/ 316 w 546"/>
                  <a:gd name="T45" fmla="*/ 310 h 571"/>
                  <a:gd name="T46" fmla="*/ 287 w 546"/>
                  <a:gd name="T47" fmla="*/ 310 h 571"/>
                  <a:gd name="T48" fmla="*/ 316 w 546"/>
                  <a:gd name="T49" fmla="*/ 387 h 571"/>
                  <a:gd name="T50" fmla="*/ 287 w 546"/>
                  <a:gd name="T51" fmla="*/ 387 h 571"/>
                  <a:gd name="T52" fmla="*/ 236 w 546"/>
                  <a:gd name="T53" fmla="*/ 387 h 571"/>
                  <a:gd name="T54" fmla="*/ 236 w 546"/>
                  <a:gd name="T55" fmla="*/ 466 h 571"/>
                  <a:gd name="T56" fmla="*/ 287 w 546"/>
                  <a:gd name="T57" fmla="*/ 466 h 571"/>
                  <a:gd name="T58" fmla="*/ 316 w 546"/>
                  <a:gd name="T59" fmla="*/ 439 h 571"/>
                  <a:gd name="T60" fmla="*/ 368 w 546"/>
                  <a:gd name="T61" fmla="*/ 520 h 571"/>
                  <a:gd name="T62" fmla="*/ 391 w 546"/>
                  <a:gd name="T63" fmla="*/ 520 h 571"/>
                  <a:gd name="T64" fmla="*/ 420 w 546"/>
                  <a:gd name="T65" fmla="*/ 543 h 571"/>
                  <a:gd name="T66" fmla="*/ 523 w 546"/>
                  <a:gd name="T67" fmla="*/ 571 h 571"/>
                  <a:gd name="T68" fmla="*/ 523 w 546"/>
                  <a:gd name="T69" fmla="*/ 543 h 571"/>
                  <a:gd name="T70" fmla="*/ 483 w 546"/>
                  <a:gd name="T71" fmla="*/ 506 h 571"/>
                  <a:gd name="T72" fmla="*/ 523 w 546"/>
                  <a:gd name="T73" fmla="*/ 520 h 571"/>
                  <a:gd name="T74" fmla="*/ 523 w 546"/>
                  <a:gd name="T75" fmla="*/ 491 h 571"/>
                  <a:gd name="T76" fmla="*/ 495 w 546"/>
                  <a:gd name="T77" fmla="*/ 466 h 571"/>
                  <a:gd name="T78" fmla="*/ 495 w 546"/>
                  <a:gd name="T79" fmla="*/ 439 h 571"/>
                  <a:gd name="T80" fmla="*/ 443 w 546"/>
                  <a:gd name="T81" fmla="*/ 414 h 571"/>
                  <a:gd name="T82" fmla="*/ 472 w 546"/>
                  <a:gd name="T83" fmla="*/ 387 h 571"/>
                  <a:gd name="T84" fmla="*/ 443 w 546"/>
                  <a:gd name="T85" fmla="*/ 362 h 571"/>
                  <a:gd name="T86" fmla="*/ 523 w 546"/>
                  <a:gd name="T87" fmla="*/ 387 h 571"/>
                  <a:gd name="T88" fmla="*/ 523 w 546"/>
                  <a:gd name="T89" fmla="*/ 362 h 571"/>
                  <a:gd name="T90" fmla="*/ 546 w 546"/>
                  <a:gd name="T91" fmla="*/ 362 h 571"/>
                  <a:gd name="T92" fmla="*/ 546 w 546"/>
                  <a:gd name="T93" fmla="*/ 310 h 571"/>
                  <a:gd name="T94" fmla="*/ 495 w 546"/>
                  <a:gd name="T95" fmla="*/ 310 h 571"/>
                  <a:gd name="T96" fmla="*/ 472 w 546"/>
                  <a:gd name="T97" fmla="*/ 284 h 571"/>
                  <a:gd name="T98" fmla="*/ 420 w 546"/>
                  <a:gd name="T99" fmla="*/ 259 h 571"/>
                  <a:gd name="T100" fmla="*/ 391 w 546"/>
                  <a:gd name="T101" fmla="*/ 232 h 571"/>
                  <a:gd name="T102" fmla="*/ 420 w 546"/>
                  <a:gd name="T103" fmla="*/ 207 h 571"/>
                  <a:gd name="T104" fmla="*/ 391 w 546"/>
                  <a:gd name="T105" fmla="*/ 155 h 571"/>
                  <a:gd name="T106" fmla="*/ 339 w 546"/>
                  <a:gd name="T107" fmla="*/ 155 h 571"/>
                  <a:gd name="T108" fmla="*/ 287 w 546"/>
                  <a:gd name="T109" fmla="*/ 126 h 571"/>
                  <a:gd name="T110" fmla="*/ 287 w 546"/>
                  <a:gd name="T111" fmla="*/ 74 h 571"/>
                  <a:gd name="T112" fmla="*/ 236 w 546"/>
                  <a:gd name="T113" fmla="*/ 103 h 571"/>
                  <a:gd name="T114" fmla="*/ 236 w 546"/>
                  <a:gd name="T115" fmla="*/ 74 h 571"/>
                  <a:gd name="T116" fmla="*/ 184 w 546"/>
                  <a:gd name="T117" fmla="*/ 74 h 571"/>
                  <a:gd name="T118" fmla="*/ 184 w 546"/>
                  <a:gd name="T119" fmla="*/ 51 h 571"/>
                  <a:gd name="T120" fmla="*/ 207 w 546"/>
                  <a:gd name="T121" fmla="*/ 5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6" h="571">
                    <a:moveTo>
                      <a:pt x="207" y="51"/>
                    </a:moveTo>
                    <a:lnTo>
                      <a:pt x="155" y="23"/>
                    </a:lnTo>
                    <a:lnTo>
                      <a:pt x="103" y="23"/>
                    </a:lnTo>
                    <a:lnTo>
                      <a:pt x="103" y="74"/>
                    </a:lnTo>
                    <a:lnTo>
                      <a:pt x="80" y="51"/>
                    </a:lnTo>
                    <a:lnTo>
                      <a:pt x="80" y="23"/>
                    </a:lnTo>
                    <a:lnTo>
                      <a:pt x="80" y="0"/>
                    </a:lnTo>
                    <a:lnTo>
                      <a:pt x="51" y="23"/>
                    </a:lnTo>
                    <a:lnTo>
                      <a:pt x="28" y="23"/>
                    </a:lnTo>
                    <a:lnTo>
                      <a:pt x="0" y="51"/>
                    </a:lnTo>
                    <a:lnTo>
                      <a:pt x="51" y="103"/>
                    </a:lnTo>
                    <a:lnTo>
                      <a:pt x="28" y="103"/>
                    </a:lnTo>
                    <a:lnTo>
                      <a:pt x="51" y="155"/>
                    </a:lnTo>
                    <a:lnTo>
                      <a:pt x="103" y="155"/>
                    </a:lnTo>
                    <a:lnTo>
                      <a:pt x="184" y="207"/>
                    </a:lnTo>
                    <a:lnTo>
                      <a:pt x="184" y="178"/>
                    </a:lnTo>
                    <a:lnTo>
                      <a:pt x="184" y="126"/>
                    </a:lnTo>
                    <a:lnTo>
                      <a:pt x="207" y="155"/>
                    </a:lnTo>
                    <a:lnTo>
                      <a:pt x="207" y="178"/>
                    </a:lnTo>
                    <a:lnTo>
                      <a:pt x="287" y="207"/>
                    </a:lnTo>
                    <a:lnTo>
                      <a:pt x="259" y="232"/>
                    </a:lnTo>
                    <a:lnTo>
                      <a:pt x="316" y="284"/>
                    </a:lnTo>
                    <a:lnTo>
                      <a:pt x="316" y="310"/>
                    </a:lnTo>
                    <a:lnTo>
                      <a:pt x="287" y="310"/>
                    </a:lnTo>
                    <a:lnTo>
                      <a:pt x="316" y="387"/>
                    </a:lnTo>
                    <a:lnTo>
                      <a:pt x="287" y="387"/>
                    </a:lnTo>
                    <a:lnTo>
                      <a:pt x="236" y="387"/>
                    </a:lnTo>
                    <a:lnTo>
                      <a:pt x="236" y="466"/>
                    </a:lnTo>
                    <a:lnTo>
                      <a:pt x="287" y="466"/>
                    </a:lnTo>
                    <a:lnTo>
                      <a:pt x="316" y="439"/>
                    </a:lnTo>
                    <a:lnTo>
                      <a:pt x="368" y="520"/>
                    </a:lnTo>
                    <a:lnTo>
                      <a:pt x="391" y="520"/>
                    </a:lnTo>
                    <a:lnTo>
                      <a:pt x="420" y="543"/>
                    </a:lnTo>
                    <a:lnTo>
                      <a:pt x="523" y="571"/>
                    </a:lnTo>
                    <a:lnTo>
                      <a:pt x="523" y="543"/>
                    </a:lnTo>
                    <a:lnTo>
                      <a:pt x="483" y="506"/>
                    </a:lnTo>
                    <a:lnTo>
                      <a:pt x="523" y="520"/>
                    </a:lnTo>
                    <a:lnTo>
                      <a:pt x="523" y="491"/>
                    </a:lnTo>
                    <a:lnTo>
                      <a:pt x="495" y="466"/>
                    </a:lnTo>
                    <a:lnTo>
                      <a:pt x="495" y="439"/>
                    </a:lnTo>
                    <a:lnTo>
                      <a:pt x="443" y="414"/>
                    </a:lnTo>
                    <a:lnTo>
                      <a:pt x="472" y="387"/>
                    </a:lnTo>
                    <a:lnTo>
                      <a:pt x="443" y="362"/>
                    </a:lnTo>
                    <a:lnTo>
                      <a:pt x="523" y="387"/>
                    </a:lnTo>
                    <a:lnTo>
                      <a:pt x="523" y="362"/>
                    </a:lnTo>
                    <a:lnTo>
                      <a:pt x="546" y="362"/>
                    </a:lnTo>
                    <a:lnTo>
                      <a:pt x="546" y="310"/>
                    </a:lnTo>
                    <a:lnTo>
                      <a:pt x="495" y="310"/>
                    </a:lnTo>
                    <a:lnTo>
                      <a:pt x="472" y="284"/>
                    </a:lnTo>
                    <a:lnTo>
                      <a:pt x="420" y="259"/>
                    </a:lnTo>
                    <a:lnTo>
                      <a:pt x="391" y="232"/>
                    </a:lnTo>
                    <a:lnTo>
                      <a:pt x="420" y="207"/>
                    </a:lnTo>
                    <a:lnTo>
                      <a:pt x="391" y="155"/>
                    </a:lnTo>
                    <a:lnTo>
                      <a:pt x="339" y="155"/>
                    </a:lnTo>
                    <a:lnTo>
                      <a:pt x="287" y="126"/>
                    </a:lnTo>
                    <a:lnTo>
                      <a:pt x="287" y="74"/>
                    </a:lnTo>
                    <a:lnTo>
                      <a:pt x="236" y="103"/>
                    </a:lnTo>
                    <a:lnTo>
                      <a:pt x="236" y="74"/>
                    </a:lnTo>
                    <a:lnTo>
                      <a:pt x="184" y="74"/>
                    </a:lnTo>
                    <a:lnTo>
                      <a:pt x="184" y="51"/>
                    </a:lnTo>
                    <a:lnTo>
                      <a:pt x="207" y="51"/>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3" name="Freeform 27">
                <a:extLst>
                  <a:ext uri="{FF2B5EF4-FFF2-40B4-BE49-F238E27FC236}">
                    <a16:creationId xmlns:a16="http://schemas.microsoft.com/office/drawing/2014/main" id="{6E676A4B-1AF7-4DC2-BB79-90B17406479A}"/>
                  </a:ext>
                </a:extLst>
              </p:cNvPr>
              <p:cNvSpPr>
                <a:spLocks/>
              </p:cNvSpPr>
              <p:nvPr/>
            </p:nvSpPr>
            <p:spPr bwMode="gray">
              <a:xfrm>
                <a:off x="1421" y="1148"/>
                <a:ext cx="12" cy="26"/>
              </a:xfrm>
              <a:custGeom>
                <a:avLst/>
                <a:gdLst>
                  <a:gd name="T0" fmla="*/ 0 w 23"/>
                  <a:gd name="T1" fmla="*/ 0 h 51"/>
                  <a:gd name="T2" fmla="*/ 0 w 23"/>
                  <a:gd name="T3" fmla="*/ 25 h 51"/>
                  <a:gd name="T4" fmla="*/ 0 w 23"/>
                  <a:gd name="T5" fmla="*/ 51 h 51"/>
                  <a:gd name="T6" fmla="*/ 23 w 23"/>
                  <a:gd name="T7" fmla="*/ 51 h 51"/>
                  <a:gd name="T8" fmla="*/ 23 w 23"/>
                  <a:gd name="T9" fmla="*/ 25 h 51"/>
                  <a:gd name="T10" fmla="*/ 0 w 23"/>
                  <a:gd name="T11" fmla="*/ 0 h 51"/>
                </a:gdLst>
                <a:ahLst/>
                <a:cxnLst>
                  <a:cxn ang="0">
                    <a:pos x="T0" y="T1"/>
                  </a:cxn>
                  <a:cxn ang="0">
                    <a:pos x="T2" y="T3"/>
                  </a:cxn>
                  <a:cxn ang="0">
                    <a:pos x="T4" y="T5"/>
                  </a:cxn>
                  <a:cxn ang="0">
                    <a:pos x="T6" y="T7"/>
                  </a:cxn>
                  <a:cxn ang="0">
                    <a:pos x="T8" y="T9"/>
                  </a:cxn>
                  <a:cxn ang="0">
                    <a:pos x="T10" y="T11"/>
                  </a:cxn>
                </a:cxnLst>
                <a:rect l="0" t="0" r="r" b="b"/>
                <a:pathLst>
                  <a:path w="23" h="51">
                    <a:moveTo>
                      <a:pt x="0" y="0"/>
                    </a:moveTo>
                    <a:lnTo>
                      <a:pt x="0" y="25"/>
                    </a:lnTo>
                    <a:lnTo>
                      <a:pt x="0" y="51"/>
                    </a:lnTo>
                    <a:lnTo>
                      <a:pt x="23" y="51"/>
                    </a:lnTo>
                    <a:lnTo>
                      <a:pt x="23" y="25"/>
                    </a:lnTo>
                    <a:lnTo>
                      <a:pt x="0"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4" name="Freeform 29">
                <a:extLst>
                  <a:ext uri="{FF2B5EF4-FFF2-40B4-BE49-F238E27FC236}">
                    <a16:creationId xmlns:a16="http://schemas.microsoft.com/office/drawing/2014/main" id="{CC3B4320-798C-4672-9171-31BDF9C89EED}"/>
                  </a:ext>
                </a:extLst>
              </p:cNvPr>
              <p:cNvSpPr>
                <a:spLocks/>
              </p:cNvSpPr>
              <p:nvPr/>
            </p:nvSpPr>
            <p:spPr bwMode="gray">
              <a:xfrm>
                <a:off x="1421" y="2277"/>
                <a:ext cx="156" cy="54"/>
              </a:xfrm>
              <a:custGeom>
                <a:avLst/>
                <a:gdLst>
                  <a:gd name="T0" fmla="*/ 236 w 310"/>
                  <a:gd name="T1" fmla="*/ 55 h 107"/>
                  <a:gd name="T2" fmla="*/ 236 w 310"/>
                  <a:gd name="T3" fmla="*/ 0 h 107"/>
                  <a:gd name="T4" fmla="*/ 155 w 310"/>
                  <a:gd name="T5" fmla="*/ 0 h 107"/>
                  <a:gd name="T6" fmla="*/ 132 w 310"/>
                  <a:gd name="T7" fmla="*/ 0 h 107"/>
                  <a:gd name="T8" fmla="*/ 103 w 310"/>
                  <a:gd name="T9" fmla="*/ 0 h 107"/>
                  <a:gd name="T10" fmla="*/ 51 w 310"/>
                  <a:gd name="T11" fmla="*/ 0 h 107"/>
                  <a:gd name="T12" fmla="*/ 103 w 310"/>
                  <a:gd name="T13" fmla="*/ 28 h 107"/>
                  <a:gd name="T14" fmla="*/ 80 w 310"/>
                  <a:gd name="T15" fmla="*/ 55 h 107"/>
                  <a:gd name="T16" fmla="*/ 51 w 310"/>
                  <a:gd name="T17" fmla="*/ 55 h 107"/>
                  <a:gd name="T18" fmla="*/ 0 w 310"/>
                  <a:gd name="T19" fmla="*/ 80 h 107"/>
                  <a:gd name="T20" fmla="*/ 51 w 310"/>
                  <a:gd name="T21" fmla="*/ 107 h 107"/>
                  <a:gd name="T22" fmla="*/ 80 w 310"/>
                  <a:gd name="T23" fmla="*/ 80 h 107"/>
                  <a:gd name="T24" fmla="*/ 132 w 310"/>
                  <a:gd name="T25" fmla="*/ 107 h 107"/>
                  <a:gd name="T26" fmla="*/ 155 w 310"/>
                  <a:gd name="T27" fmla="*/ 107 h 107"/>
                  <a:gd name="T28" fmla="*/ 184 w 310"/>
                  <a:gd name="T29" fmla="*/ 107 h 107"/>
                  <a:gd name="T30" fmla="*/ 207 w 310"/>
                  <a:gd name="T31" fmla="*/ 107 h 107"/>
                  <a:gd name="T32" fmla="*/ 236 w 310"/>
                  <a:gd name="T33" fmla="*/ 80 h 107"/>
                  <a:gd name="T34" fmla="*/ 287 w 310"/>
                  <a:gd name="T35" fmla="*/ 107 h 107"/>
                  <a:gd name="T36" fmla="*/ 310 w 310"/>
                  <a:gd name="T37" fmla="*/ 107 h 107"/>
                  <a:gd name="T38" fmla="*/ 287 w 310"/>
                  <a:gd name="T39" fmla="*/ 55 h 107"/>
                  <a:gd name="T40" fmla="*/ 236 w 310"/>
                  <a:gd name="T41" fmla="*/ 5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107">
                    <a:moveTo>
                      <a:pt x="236" y="55"/>
                    </a:moveTo>
                    <a:lnTo>
                      <a:pt x="236" y="0"/>
                    </a:lnTo>
                    <a:lnTo>
                      <a:pt x="155" y="0"/>
                    </a:lnTo>
                    <a:lnTo>
                      <a:pt x="132" y="0"/>
                    </a:lnTo>
                    <a:lnTo>
                      <a:pt x="103" y="0"/>
                    </a:lnTo>
                    <a:lnTo>
                      <a:pt x="51" y="0"/>
                    </a:lnTo>
                    <a:lnTo>
                      <a:pt x="103" y="28"/>
                    </a:lnTo>
                    <a:lnTo>
                      <a:pt x="80" y="55"/>
                    </a:lnTo>
                    <a:lnTo>
                      <a:pt x="51" y="55"/>
                    </a:lnTo>
                    <a:lnTo>
                      <a:pt x="0" y="80"/>
                    </a:lnTo>
                    <a:lnTo>
                      <a:pt x="51" y="107"/>
                    </a:lnTo>
                    <a:lnTo>
                      <a:pt x="80" y="80"/>
                    </a:lnTo>
                    <a:lnTo>
                      <a:pt x="132" y="107"/>
                    </a:lnTo>
                    <a:lnTo>
                      <a:pt x="155" y="107"/>
                    </a:lnTo>
                    <a:lnTo>
                      <a:pt x="184" y="107"/>
                    </a:lnTo>
                    <a:lnTo>
                      <a:pt x="207" y="107"/>
                    </a:lnTo>
                    <a:lnTo>
                      <a:pt x="236" y="80"/>
                    </a:lnTo>
                    <a:lnTo>
                      <a:pt x="287" y="107"/>
                    </a:lnTo>
                    <a:lnTo>
                      <a:pt x="310" y="107"/>
                    </a:lnTo>
                    <a:lnTo>
                      <a:pt x="287" y="55"/>
                    </a:lnTo>
                    <a:lnTo>
                      <a:pt x="236" y="55"/>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5" name="Freeform 30">
                <a:extLst>
                  <a:ext uri="{FF2B5EF4-FFF2-40B4-BE49-F238E27FC236}">
                    <a16:creationId xmlns:a16="http://schemas.microsoft.com/office/drawing/2014/main" id="{7E6758C3-D8F7-4303-8ED7-A2BD825379E8}"/>
                  </a:ext>
                </a:extLst>
              </p:cNvPr>
              <p:cNvSpPr>
                <a:spLocks/>
              </p:cNvSpPr>
              <p:nvPr/>
            </p:nvSpPr>
            <p:spPr bwMode="gray">
              <a:xfrm>
                <a:off x="1226" y="993"/>
                <a:ext cx="39" cy="52"/>
              </a:xfrm>
              <a:custGeom>
                <a:avLst/>
                <a:gdLst>
                  <a:gd name="T0" fmla="*/ 52 w 79"/>
                  <a:gd name="T1" fmla="*/ 103 h 103"/>
                  <a:gd name="T2" fmla="*/ 79 w 79"/>
                  <a:gd name="T3" fmla="*/ 75 h 103"/>
                  <a:gd name="T4" fmla="*/ 79 w 79"/>
                  <a:gd name="T5" fmla="*/ 0 h 103"/>
                  <a:gd name="T6" fmla="*/ 52 w 79"/>
                  <a:gd name="T7" fmla="*/ 0 h 103"/>
                  <a:gd name="T8" fmla="*/ 27 w 79"/>
                  <a:gd name="T9" fmla="*/ 23 h 103"/>
                  <a:gd name="T10" fmla="*/ 0 w 79"/>
                  <a:gd name="T11" fmla="*/ 23 h 103"/>
                  <a:gd name="T12" fmla="*/ 27 w 79"/>
                  <a:gd name="T13" fmla="*/ 75 h 103"/>
                  <a:gd name="T14" fmla="*/ 27 w 79"/>
                  <a:gd name="T15" fmla="*/ 103 h 103"/>
                  <a:gd name="T16" fmla="*/ 52 w 79"/>
                  <a:gd name="T17"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3">
                    <a:moveTo>
                      <a:pt x="52" y="103"/>
                    </a:moveTo>
                    <a:lnTo>
                      <a:pt x="79" y="75"/>
                    </a:lnTo>
                    <a:lnTo>
                      <a:pt x="79" y="0"/>
                    </a:lnTo>
                    <a:lnTo>
                      <a:pt x="52" y="0"/>
                    </a:lnTo>
                    <a:lnTo>
                      <a:pt x="27" y="23"/>
                    </a:lnTo>
                    <a:lnTo>
                      <a:pt x="0" y="23"/>
                    </a:lnTo>
                    <a:lnTo>
                      <a:pt x="27" y="75"/>
                    </a:lnTo>
                    <a:lnTo>
                      <a:pt x="27" y="103"/>
                    </a:lnTo>
                    <a:lnTo>
                      <a:pt x="52" y="10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6" name="Freeform 31">
                <a:extLst>
                  <a:ext uri="{FF2B5EF4-FFF2-40B4-BE49-F238E27FC236}">
                    <a16:creationId xmlns:a16="http://schemas.microsoft.com/office/drawing/2014/main" id="{36B54C74-1BD8-452F-85AC-F48774ECFB42}"/>
                  </a:ext>
                </a:extLst>
              </p:cNvPr>
              <p:cNvSpPr>
                <a:spLocks/>
              </p:cNvSpPr>
              <p:nvPr/>
            </p:nvSpPr>
            <p:spPr bwMode="gray">
              <a:xfrm>
                <a:off x="1277" y="993"/>
                <a:ext cx="41" cy="37"/>
              </a:xfrm>
              <a:custGeom>
                <a:avLst/>
                <a:gdLst>
                  <a:gd name="T0" fmla="*/ 0 w 80"/>
                  <a:gd name="T1" fmla="*/ 23 h 75"/>
                  <a:gd name="T2" fmla="*/ 0 w 80"/>
                  <a:gd name="T3" fmla="*/ 75 h 75"/>
                  <a:gd name="T4" fmla="*/ 27 w 80"/>
                  <a:gd name="T5" fmla="*/ 75 h 75"/>
                  <a:gd name="T6" fmla="*/ 80 w 80"/>
                  <a:gd name="T7" fmla="*/ 23 h 75"/>
                  <a:gd name="T8" fmla="*/ 52 w 80"/>
                  <a:gd name="T9" fmla="*/ 0 h 75"/>
                  <a:gd name="T10" fmla="*/ 27 w 80"/>
                  <a:gd name="T11" fmla="*/ 0 h 75"/>
                  <a:gd name="T12" fmla="*/ 0 w 80"/>
                  <a:gd name="T13" fmla="*/ 23 h 75"/>
                </a:gdLst>
                <a:ahLst/>
                <a:cxnLst>
                  <a:cxn ang="0">
                    <a:pos x="T0" y="T1"/>
                  </a:cxn>
                  <a:cxn ang="0">
                    <a:pos x="T2" y="T3"/>
                  </a:cxn>
                  <a:cxn ang="0">
                    <a:pos x="T4" y="T5"/>
                  </a:cxn>
                  <a:cxn ang="0">
                    <a:pos x="T6" y="T7"/>
                  </a:cxn>
                  <a:cxn ang="0">
                    <a:pos x="T8" y="T9"/>
                  </a:cxn>
                  <a:cxn ang="0">
                    <a:pos x="T10" y="T11"/>
                  </a:cxn>
                  <a:cxn ang="0">
                    <a:pos x="T12" y="T13"/>
                  </a:cxn>
                </a:cxnLst>
                <a:rect l="0" t="0" r="r" b="b"/>
                <a:pathLst>
                  <a:path w="80" h="75">
                    <a:moveTo>
                      <a:pt x="0" y="23"/>
                    </a:moveTo>
                    <a:lnTo>
                      <a:pt x="0" y="75"/>
                    </a:lnTo>
                    <a:lnTo>
                      <a:pt x="27" y="75"/>
                    </a:lnTo>
                    <a:lnTo>
                      <a:pt x="80" y="23"/>
                    </a:lnTo>
                    <a:lnTo>
                      <a:pt x="52" y="0"/>
                    </a:lnTo>
                    <a:lnTo>
                      <a:pt x="27" y="0"/>
                    </a:lnTo>
                    <a:lnTo>
                      <a:pt x="0" y="2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7" name="Freeform 32">
                <a:extLst>
                  <a:ext uri="{FF2B5EF4-FFF2-40B4-BE49-F238E27FC236}">
                    <a16:creationId xmlns:a16="http://schemas.microsoft.com/office/drawing/2014/main" id="{7FF251C0-4CC6-4705-A776-87F64F3CD808}"/>
                  </a:ext>
                </a:extLst>
              </p:cNvPr>
              <p:cNvSpPr>
                <a:spLocks/>
              </p:cNvSpPr>
              <p:nvPr/>
            </p:nvSpPr>
            <p:spPr bwMode="gray">
              <a:xfrm>
                <a:off x="1135" y="862"/>
                <a:ext cx="65" cy="26"/>
              </a:xfrm>
              <a:custGeom>
                <a:avLst/>
                <a:gdLst>
                  <a:gd name="T0" fmla="*/ 103 w 128"/>
                  <a:gd name="T1" fmla="*/ 52 h 52"/>
                  <a:gd name="T2" fmla="*/ 128 w 128"/>
                  <a:gd name="T3" fmla="*/ 25 h 52"/>
                  <a:gd name="T4" fmla="*/ 103 w 128"/>
                  <a:gd name="T5" fmla="*/ 0 h 52"/>
                  <a:gd name="T6" fmla="*/ 76 w 128"/>
                  <a:gd name="T7" fmla="*/ 0 h 52"/>
                  <a:gd name="T8" fmla="*/ 0 w 128"/>
                  <a:gd name="T9" fmla="*/ 25 h 52"/>
                  <a:gd name="T10" fmla="*/ 52 w 128"/>
                  <a:gd name="T11" fmla="*/ 52 h 52"/>
                  <a:gd name="T12" fmla="*/ 103 w 128"/>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28" h="52">
                    <a:moveTo>
                      <a:pt x="103" y="52"/>
                    </a:moveTo>
                    <a:lnTo>
                      <a:pt x="128" y="25"/>
                    </a:lnTo>
                    <a:lnTo>
                      <a:pt x="103" y="0"/>
                    </a:lnTo>
                    <a:lnTo>
                      <a:pt x="76" y="0"/>
                    </a:lnTo>
                    <a:lnTo>
                      <a:pt x="0" y="25"/>
                    </a:lnTo>
                    <a:lnTo>
                      <a:pt x="52" y="52"/>
                    </a:lnTo>
                    <a:lnTo>
                      <a:pt x="103"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8" name="Freeform 33">
                <a:extLst>
                  <a:ext uri="{FF2B5EF4-FFF2-40B4-BE49-F238E27FC236}">
                    <a16:creationId xmlns:a16="http://schemas.microsoft.com/office/drawing/2014/main" id="{D88772C0-F924-4A45-B44E-65AE30EF62FF}"/>
                  </a:ext>
                </a:extLst>
              </p:cNvPr>
              <p:cNvSpPr>
                <a:spLocks/>
              </p:cNvSpPr>
              <p:nvPr/>
            </p:nvSpPr>
            <p:spPr bwMode="gray">
              <a:xfrm>
                <a:off x="1291" y="940"/>
                <a:ext cx="104" cy="53"/>
              </a:xfrm>
              <a:custGeom>
                <a:avLst/>
                <a:gdLst>
                  <a:gd name="T0" fmla="*/ 25 w 209"/>
                  <a:gd name="T1" fmla="*/ 0 h 106"/>
                  <a:gd name="T2" fmla="*/ 0 w 209"/>
                  <a:gd name="T3" fmla="*/ 0 h 106"/>
                  <a:gd name="T4" fmla="*/ 25 w 209"/>
                  <a:gd name="T5" fmla="*/ 25 h 106"/>
                  <a:gd name="T6" fmla="*/ 25 w 209"/>
                  <a:gd name="T7" fmla="*/ 106 h 106"/>
                  <a:gd name="T8" fmla="*/ 209 w 209"/>
                  <a:gd name="T9" fmla="*/ 106 h 106"/>
                  <a:gd name="T10" fmla="*/ 209 w 209"/>
                  <a:gd name="T11" fmla="*/ 77 h 106"/>
                  <a:gd name="T12" fmla="*/ 105 w 209"/>
                  <a:gd name="T13" fmla="*/ 54 h 106"/>
                  <a:gd name="T14" fmla="*/ 25 w 209"/>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106">
                    <a:moveTo>
                      <a:pt x="25" y="0"/>
                    </a:moveTo>
                    <a:lnTo>
                      <a:pt x="0" y="0"/>
                    </a:lnTo>
                    <a:lnTo>
                      <a:pt x="25" y="25"/>
                    </a:lnTo>
                    <a:lnTo>
                      <a:pt x="25" y="106"/>
                    </a:lnTo>
                    <a:lnTo>
                      <a:pt x="209" y="106"/>
                    </a:lnTo>
                    <a:lnTo>
                      <a:pt x="209" y="77"/>
                    </a:lnTo>
                    <a:lnTo>
                      <a:pt x="105" y="54"/>
                    </a:lnTo>
                    <a:lnTo>
                      <a:pt x="25"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59" name="Freeform 34">
                <a:extLst>
                  <a:ext uri="{FF2B5EF4-FFF2-40B4-BE49-F238E27FC236}">
                    <a16:creationId xmlns:a16="http://schemas.microsoft.com/office/drawing/2014/main" id="{0ABBD774-BA60-4FBE-9EE1-60B27C7B2A7E}"/>
                  </a:ext>
                </a:extLst>
              </p:cNvPr>
              <p:cNvSpPr>
                <a:spLocks/>
              </p:cNvSpPr>
              <p:nvPr/>
            </p:nvSpPr>
            <p:spPr bwMode="gray">
              <a:xfrm>
                <a:off x="1174" y="901"/>
                <a:ext cx="65" cy="52"/>
              </a:xfrm>
              <a:custGeom>
                <a:avLst/>
                <a:gdLst>
                  <a:gd name="T0" fmla="*/ 131 w 131"/>
                  <a:gd name="T1" fmla="*/ 51 h 103"/>
                  <a:gd name="T2" fmla="*/ 104 w 131"/>
                  <a:gd name="T3" fmla="*/ 27 h 103"/>
                  <a:gd name="T4" fmla="*/ 27 w 131"/>
                  <a:gd name="T5" fmla="*/ 0 h 103"/>
                  <a:gd name="T6" fmla="*/ 0 w 131"/>
                  <a:gd name="T7" fmla="*/ 27 h 103"/>
                  <a:gd name="T8" fmla="*/ 0 w 131"/>
                  <a:gd name="T9" fmla="*/ 51 h 103"/>
                  <a:gd name="T10" fmla="*/ 27 w 131"/>
                  <a:gd name="T11" fmla="*/ 78 h 103"/>
                  <a:gd name="T12" fmla="*/ 52 w 131"/>
                  <a:gd name="T13" fmla="*/ 78 h 103"/>
                  <a:gd name="T14" fmla="*/ 104 w 131"/>
                  <a:gd name="T15" fmla="*/ 103 h 103"/>
                  <a:gd name="T16" fmla="*/ 131 w 131"/>
                  <a:gd name="T17"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03">
                    <a:moveTo>
                      <a:pt x="131" y="51"/>
                    </a:moveTo>
                    <a:lnTo>
                      <a:pt x="104" y="27"/>
                    </a:lnTo>
                    <a:lnTo>
                      <a:pt x="27" y="0"/>
                    </a:lnTo>
                    <a:lnTo>
                      <a:pt x="0" y="27"/>
                    </a:lnTo>
                    <a:lnTo>
                      <a:pt x="0" y="51"/>
                    </a:lnTo>
                    <a:lnTo>
                      <a:pt x="27" y="78"/>
                    </a:lnTo>
                    <a:lnTo>
                      <a:pt x="52" y="78"/>
                    </a:lnTo>
                    <a:lnTo>
                      <a:pt x="104" y="103"/>
                    </a:lnTo>
                    <a:lnTo>
                      <a:pt x="131" y="51"/>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0" name="Freeform 35">
                <a:extLst>
                  <a:ext uri="{FF2B5EF4-FFF2-40B4-BE49-F238E27FC236}">
                    <a16:creationId xmlns:a16="http://schemas.microsoft.com/office/drawing/2014/main" id="{056EA586-3B16-4301-857B-84C366FFF643}"/>
                  </a:ext>
                </a:extLst>
              </p:cNvPr>
              <p:cNvSpPr>
                <a:spLocks/>
              </p:cNvSpPr>
              <p:nvPr/>
            </p:nvSpPr>
            <p:spPr bwMode="gray">
              <a:xfrm>
                <a:off x="1239" y="927"/>
                <a:ext cx="38" cy="40"/>
              </a:xfrm>
              <a:custGeom>
                <a:avLst/>
                <a:gdLst>
                  <a:gd name="T0" fmla="*/ 77 w 77"/>
                  <a:gd name="T1" fmla="*/ 81 h 81"/>
                  <a:gd name="T2" fmla="*/ 52 w 77"/>
                  <a:gd name="T3" fmla="*/ 52 h 81"/>
                  <a:gd name="T4" fmla="*/ 77 w 77"/>
                  <a:gd name="T5" fmla="*/ 52 h 81"/>
                  <a:gd name="T6" fmla="*/ 52 w 77"/>
                  <a:gd name="T7" fmla="*/ 0 h 81"/>
                  <a:gd name="T8" fmla="*/ 25 w 77"/>
                  <a:gd name="T9" fmla="*/ 27 h 81"/>
                  <a:gd name="T10" fmla="*/ 0 w 77"/>
                  <a:gd name="T11" fmla="*/ 52 h 81"/>
                  <a:gd name="T12" fmla="*/ 25 w 77"/>
                  <a:gd name="T13" fmla="*/ 52 h 81"/>
                  <a:gd name="T14" fmla="*/ 25 w 77"/>
                  <a:gd name="T15" fmla="*/ 81 h 81"/>
                  <a:gd name="T16" fmla="*/ 52 w 77"/>
                  <a:gd name="T17" fmla="*/ 81 h 81"/>
                  <a:gd name="T18" fmla="*/ 77 w 77"/>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81">
                    <a:moveTo>
                      <a:pt x="77" y="81"/>
                    </a:moveTo>
                    <a:lnTo>
                      <a:pt x="52" y="52"/>
                    </a:lnTo>
                    <a:lnTo>
                      <a:pt x="77" y="52"/>
                    </a:lnTo>
                    <a:lnTo>
                      <a:pt x="52" y="0"/>
                    </a:lnTo>
                    <a:lnTo>
                      <a:pt x="25" y="27"/>
                    </a:lnTo>
                    <a:lnTo>
                      <a:pt x="0" y="52"/>
                    </a:lnTo>
                    <a:lnTo>
                      <a:pt x="25" y="52"/>
                    </a:lnTo>
                    <a:lnTo>
                      <a:pt x="25" y="81"/>
                    </a:lnTo>
                    <a:lnTo>
                      <a:pt x="52" y="81"/>
                    </a:lnTo>
                    <a:lnTo>
                      <a:pt x="77" y="81"/>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1" name="Freeform 36">
                <a:extLst>
                  <a:ext uri="{FF2B5EF4-FFF2-40B4-BE49-F238E27FC236}">
                    <a16:creationId xmlns:a16="http://schemas.microsoft.com/office/drawing/2014/main" id="{3A83A24D-5F10-46C1-B577-C719C45B6C0E}"/>
                  </a:ext>
                </a:extLst>
              </p:cNvPr>
              <p:cNvSpPr>
                <a:spLocks/>
              </p:cNvSpPr>
              <p:nvPr/>
            </p:nvSpPr>
            <p:spPr bwMode="gray">
              <a:xfrm>
                <a:off x="1187" y="744"/>
                <a:ext cx="104" cy="79"/>
              </a:xfrm>
              <a:custGeom>
                <a:avLst/>
                <a:gdLst>
                  <a:gd name="T0" fmla="*/ 104 w 208"/>
                  <a:gd name="T1" fmla="*/ 104 h 157"/>
                  <a:gd name="T2" fmla="*/ 129 w 208"/>
                  <a:gd name="T3" fmla="*/ 81 h 157"/>
                  <a:gd name="T4" fmla="*/ 129 w 208"/>
                  <a:gd name="T5" fmla="*/ 104 h 157"/>
                  <a:gd name="T6" fmla="*/ 156 w 208"/>
                  <a:gd name="T7" fmla="*/ 81 h 157"/>
                  <a:gd name="T8" fmla="*/ 181 w 208"/>
                  <a:gd name="T9" fmla="*/ 52 h 157"/>
                  <a:gd name="T10" fmla="*/ 208 w 208"/>
                  <a:gd name="T11" fmla="*/ 29 h 157"/>
                  <a:gd name="T12" fmla="*/ 156 w 208"/>
                  <a:gd name="T13" fmla="*/ 0 h 157"/>
                  <a:gd name="T14" fmla="*/ 129 w 208"/>
                  <a:gd name="T15" fmla="*/ 29 h 157"/>
                  <a:gd name="T16" fmla="*/ 104 w 208"/>
                  <a:gd name="T17" fmla="*/ 52 h 157"/>
                  <a:gd name="T18" fmla="*/ 77 w 208"/>
                  <a:gd name="T19" fmla="*/ 29 h 157"/>
                  <a:gd name="T20" fmla="*/ 52 w 208"/>
                  <a:gd name="T21" fmla="*/ 81 h 157"/>
                  <a:gd name="T22" fmla="*/ 25 w 208"/>
                  <a:gd name="T23" fmla="*/ 104 h 157"/>
                  <a:gd name="T24" fmla="*/ 0 w 208"/>
                  <a:gd name="T25" fmla="*/ 132 h 157"/>
                  <a:gd name="T26" fmla="*/ 0 w 208"/>
                  <a:gd name="T27" fmla="*/ 157 h 157"/>
                  <a:gd name="T28" fmla="*/ 52 w 208"/>
                  <a:gd name="T29" fmla="*/ 132 h 157"/>
                  <a:gd name="T30" fmla="*/ 104 w 208"/>
                  <a:gd name="T31" fmla="*/ 10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157">
                    <a:moveTo>
                      <a:pt x="104" y="104"/>
                    </a:moveTo>
                    <a:lnTo>
                      <a:pt x="129" y="81"/>
                    </a:lnTo>
                    <a:lnTo>
                      <a:pt x="129" y="104"/>
                    </a:lnTo>
                    <a:lnTo>
                      <a:pt x="156" y="81"/>
                    </a:lnTo>
                    <a:lnTo>
                      <a:pt x="181" y="52"/>
                    </a:lnTo>
                    <a:lnTo>
                      <a:pt x="208" y="29"/>
                    </a:lnTo>
                    <a:lnTo>
                      <a:pt x="156" y="0"/>
                    </a:lnTo>
                    <a:lnTo>
                      <a:pt x="129" y="29"/>
                    </a:lnTo>
                    <a:lnTo>
                      <a:pt x="104" y="52"/>
                    </a:lnTo>
                    <a:lnTo>
                      <a:pt x="77" y="29"/>
                    </a:lnTo>
                    <a:lnTo>
                      <a:pt x="52" y="81"/>
                    </a:lnTo>
                    <a:lnTo>
                      <a:pt x="25" y="104"/>
                    </a:lnTo>
                    <a:lnTo>
                      <a:pt x="0" y="132"/>
                    </a:lnTo>
                    <a:lnTo>
                      <a:pt x="0" y="157"/>
                    </a:lnTo>
                    <a:lnTo>
                      <a:pt x="52" y="132"/>
                    </a:lnTo>
                    <a:lnTo>
                      <a:pt x="104" y="104"/>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2" name="Freeform 37">
                <a:extLst>
                  <a:ext uri="{FF2B5EF4-FFF2-40B4-BE49-F238E27FC236}">
                    <a16:creationId xmlns:a16="http://schemas.microsoft.com/office/drawing/2014/main" id="{7946A5EE-A813-4C91-A03C-BBA1B6E99340}"/>
                  </a:ext>
                </a:extLst>
              </p:cNvPr>
              <p:cNvSpPr>
                <a:spLocks/>
              </p:cNvSpPr>
              <p:nvPr/>
            </p:nvSpPr>
            <p:spPr bwMode="gray">
              <a:xfrm>
                <a:off x="1239" y="837"/>
                <a:ext cx="105" cy="77"/>
              </a:xfrm>
              <a:custGeom>
                <a:avLst/>
                <a:gdLst>
                  <a:gd name="T0" fmla="*/ 77 w 209"/>
                  <a:gd name="T1" fmla="*/ 52 h 156"/>
                  <a:gd name="T2" fmla="*/ 77 w 209"/>
                  <a:gd name="T3" fmla="*/ 0 h 156"/>
                  <a:gd name="T4" fmla="*/ 52 w 209"/>
                  <a:gd name="T5" fmla="*/ 0 h 156"/>
                  <a:gd name="T6" fmla="*/ 25 w 209"/>
                  <a:gd name="T7" fmla="*/ 25 h 156"/>
                  <a:gd name="T8" fmla="*/ 25 w 209"/>
                  <a:gd name="T9" fmla="*/ 52 h 156"/>
                  <a:gd name="T10" fmla="*/ 0 w 209"/>
                  <a:gd name="T11" fmla="*/ 52 h 156"/>
                  <a:gd name="T12" fmla="*/ 0 w 209"/>
                  <a:gd name="T13" fmla="*/ 77 h 156"/>
                  <a:gd name="T14" fmla="*/ 25 w 209"/>
                  <a:gd name="T15" fmla="*/ 104 h 156"/>
                  <a:gd name="T16" fmla="*/ 0 w 209"/>
                  <a:gd name="T17" fmla="*/ 129 h 156"/>
                  <a:gd name="T18" fmla="*/ 0 w 209"/>
                  <a:gd name="T19" fmla="*/ 156 h 156"/>
                  <a:gd name="T20" fmla="*/ 52 w 209"/>
                  <a:gd name="T21" fmla="*/ 156 h 156"/>
                  <a:gd name="T22" fmla="*/ 104 w 209"/>
                  <a:gd name="T23" fmla="*/ 129 h 156"/>
                  <a:gd name="T24" fmla="*/ 129 w 209"/>
                  <a:gd name="T25" fmla="*/ 129 h 156"/>
                  <a:gd name="T26" fmla="*/ 157 w 209"/>
                  <a:gd name="T27" fmla="*/ 129 h 156"/>
                  <a:gd name="T28" fmla="*/ 180 w 209"/>
                  <a:gd name="T29" fmla="*/ 104 h 156"/>
                  <a:gd name="T30" fmla="*/ 157 w 209"/>
                  <a:gd name="T31" fmla="*/ 77 h 156"/>
                  <a:gd name="T32" fmla="*/ 180 w 209"/>
                  <a:gd name="T33" fmla="*/ 52 h 156"/>
                  <a:gd name="T34" fmla="*/ 209 w 209"/>
                  <a:gd name="T35" fmla="*/ 25 h 156"/>
                  <a:gd name="T36" fmla="*/ 180 w 209"/>
                  <a:gd name="T37" fmla="*/ 0 h 156"/>
                  <a:gd name="T38" fmla="*/ 157 w 209"/>
                  <a:gd name="T39" fmla="*/ 0 h 156"/>
                  <a:gd name="T40" fmla="*/ 157 w 209"/>
                  <a:gd name="T41" fmla="*/ 52 h 156"/>
                  <a:gd name="T42" fmla="*/ 129 w 209"/>
                  <a:gd name="T43" fmla="*/ 52 h 156"/>
                  <a:gd name="T44" fmla="*/ 104 w 209"/>
                  <a:gd name="T45" fmla="*/ 52 h 156"/>
                  <a:gd name="T46" fmla="*/ 77 w 209"/>
                  <a:gd name="T47" fmla="*/ 5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9" h="156">
                    <a:moveTo>
                      <a:pt x="77" y="52"/>
                    </a:moveTo>
                    <a:lnTo>
                      <a:pt x="77" y="0"/>
                    </a:lnTo>
                    <a:lnTo>
                      <a:pt x="52" y="0"/>
                    </a:lnTo>
                    <a:lnTo>
                      <a:pt x="25" y="25"/>
                    </a:lnTo>
                    <a:lnTo>
                      <a:pt x="25" y="52"/>
                    </a:lnTo>
                    <a:lnTo>
                      <a:pt x="0" y="52"/>
                    </a:lnTo>
                    <a:lnTo>
                      <a:pt x="0" y="77"/>
                    </a:lnTo>
                    <a:lnTo>
                      <a:pt x="25" y="104"/>
                    </a:lnTo>
                    <a:lnTo>
                      <a:pt x="0" y="129"/>
                    </a:lnTo>
                    <a:lnTo>
                      <a:pt x="0" y="156"/>
                    </a:lnTo>
                    <a:lnTo>
                      <a:pt x="52" y="156"/>
                    </a:lnTo>
                    <a:lnTo>
                      <a:pt x="104" y="129"/>
                    </a:lnTo>
                    <a:lnTo>
                      <a:pt x="129" y="129"/>
                    </a:lnTo>
                    <a:lnTo>
                      <a:pt x="157" y="129"/>
                    </a:lnTo>
                    <a:lnTo>
                      <a:pt x="180" y="104"/>
                    </a:lnTo>
                    <a:lnTo>
                      <a:pt x="157" y="77"/>
                    </a:lnTo>
                    <a:lnTo>
                      <a:pt x="180" y="52"/>
                    </a:lnTo>
                    <a:lnTo>
                      <a:pt x="209" y="25"/>
                    </a:lnTo>
                    <a:lnTo>
                      <a:pt x="180" y="0"/>
                    </a:lnTo>
                    <a:lnTo>
                      <a:pt x="157" y="0"/>
                    </a:lnTo>
                    <a:lnTo>
                      <a:pt x="157" y="52"/>
                    </a:lnTo>
                    <a:lnTo>
                      <a:pt x="129" y="52"/>
                    </a:lnTo>
                    <a:lnTo>
                      <a:pt x="104" y="52"/>
                    </a:lnTo>
                    <a:lnTo>
                      <a:pt x="77"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3" name="Freeform 38">
                <a:extLst>
                  <a:ext uri="{FF2B5EF4-FFF2-40B4-BE49-F238E27FC236}">
                    <a16:creationId xmlns:a16="http://schemas.microsoft.com/office/drawing/2014/main" id="{4FC18FB8-EA42-4E27-AAF8-AC7015E6B4E3}"/>
                  </a:ext>
                </a:extLst>
              </p:cNvPr>
              <p:cNvSpPr>
                <a:spLocks/>
              </p:cNvSpPr>
              <p:nvPr/>
            </p:nvSpPr>
            <p:spPr bwMode="gray">
              <a:xfrm>
                <a:off x="2592" y="771"/>
                <a:ext cx="103" cy="144"/>
              </a:xfrm>
              <a:custGeom>
                <a:avLst/>
                <a:gdLst>
                  <a:gd name="T0" fmla="*/ 27 w 207"/>
                  <a:gd name="T1" fmla="*/ 106 h 288"/>
                  <a:gd name="T2" fmla="*/ 27 w 207"/>
                  <a:gd name="T3" fmla="*/ 133 h 288"/>
                  <a:gd name="T4" fmla="*/ 52 w 207"/>
                  <a:gd name="T5" fmla="*/ 158 h 288"/>
                  <a:gd name="T6" fmla="*/ 79 w 207"/>
                  <a:gd name="T7" fmla="*/ 158 h 288"/>
                  <a:gd name="T8" fmla="*/ 104 w 207"/>
                  <a:gd name="T9" fmla="*/ 133 h 288"/>
                  <a:gd name="T10" fmla="*/ 131 w 207"/>
                  <a:gd name="T11" fmla="*/ 133 h 288"/>
                  <a:gd name="T12" fmla="*/ 131 w 207"/>
                  <a:gd name="T13" fmla="*/ 158 h 288"/>
                  <a:gd name="T14" fmla="*/ 104 w 207"/>
                  <a:gd name="T15" fmla="*/ 158 h 288"/>
                  <a:gd name="T16" fmla="*/ 104 w 207"/>
                  <a:gd name="T17" fmla="*/ 185 h 288"/>
                  <a:gd name="T18" fmla="*/ 131 w 207"/>
                  <a:gd name="T19" fmla="*/ 185 h 288"/>
                  <a:gd name="T20" fmla="*/ 131 w 207"/>
                  <a:gd name="T21" fmla="*/ 210 h 288"/>
                  <a:gd name="T22" fmla="*/ 104 w 207"/>
                  <a:gd name="T23" fmla="*/ 237 h 288"/>
                  <a:gd name="T24" fmla="*/ 104 w 207"/>
                  <a:gd name="T25" fmla="*/ 261 h 288"/>
                  <a:gd name="T26" fmla="*/ 156 w 207"/>
                  <a:gd name="T27" fmla="*/ 288 h 288"/>
                  <a:gd name="T28" fmla="*/ 156 w 207"/>
                  <a:gd name="T29" fmla="*/ 261 h 288"/>
                  <a:gd name="T30" fmla="*/ 156 w 207"/>
                  <a:gd name="T31" fmla="*/ 237 h 288"/>
                  <a:gd name="T32" fmla="*/ 184 w 207"/>
                  <a:gd name="T33" fmla="*/ 185 h 288"/>
                  <a:gd name="T34" fmla="*/ 184 w 207"/>
                  <a:gd name="T35" fmla="*/ 158 h 288"/>
                  <a:gd name="T36" fmla="*/ 184 w 207"/>
                  <a:gd name="T37" fmla="*/ 106 h 288"/>
                  <a:gd name="T38" fmla="*/ 207 w 207"/>
                  <a:gd name="T39" fmla="*/ 106 h 288"/>
                  <a:gd name="T40" fmla="*/ 184 w 207"/>
                  <a:gd name="T41" fmla="*/ 81 h 288"/>
                  <a:gd name="T42" fmla="*/ 156 w 207"/>
                  <a:gd name="T43" fmla="*/ 81 h 288"/>
                  <a:gd name="T44" fmla="*/ 131 w 207"/>
                  <a:gd name="T45" fmla="*/ 29 h 288"/>
                  <a:gd name="T46" fmla="*/ 131 w 207"/>
                  <a:gd name="T47" fmla="*/ 54 h 288"/>
                  <a:gd name="T48" fmla="*/ 104 w 207"/>
                  <a:gd name="T49" fmla="*/ 54 h 288"/>
                  <a:gd name="T50" fmla="*/ 104 w 207"/>
                  <a:gd name="T51" fmla="*/ 81 h 288"/>
                  <a:gd name="T52" fmla="*/ 79 w 207"/>
                  <a:gd name="T53" fmla="*/ 54 h 288"/>
                  <a:gd name="T54" fmla="*/ 79 w 207"/>
                  <a:gd name="T55" fmla="*/ 29 h 288"/>
                  <a:gd name="T56" fmla="*/ 52 w 207"/>
                  <a:gd name="T57" fmla="*/ 0 h 288"/>
                  <a:gd name="T58" fmla="*/ 52 w 207"/>
                  <a:gd name="T59" fmla="*/ 29 h 288"/>
                  <a:gd name="T60" fmla="*/ 27 w 207"/>
                  <a:gd name="T61" fmla="*/ 29 h 288"/>
                  <a:gd name="T62" fmla="*/ 0 w 207"/>
                  <a:gd name="T63" fmla="*/ 29 h 288"/>
                  <a:gd name="T64" fmla="*/ 27 w 207"/>
                  <a:gd name="T65" fmla="*/ 81 h 288"/>
                  <a:gd name="T66" fmla="*/ 27 w 207"/>
                  <a:gd name="T67" fmla="*/ 10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7" h="288">
                    <a:moveTo>
                      <a:pt x="27" y="106"/>
                    </a:moveTo>
                    <a:lnTo>
                      <a:pt x="27" y="133"/>
                    </a:lnTo>
                    <a:lnTo>
                      <a:pt x="52" y="158"/>
                    </a:lnTo>
                    <a:lnTo>
                      <a:pt x="79" y="158"/>
                    </a:lnTo>
                    <a:lnTo>
                      <a:pt x="104" y="133"/>
                    </a:lnTo>
                    <a:lnTo>
                      <a:pt x="131" y="133"/>
                    </a:lnTo>
                    <a:lnTo>
                      <a:pt x="131" y="158"/>
                    </a:lnTo>
                    <a:lnTo>
                      <a:pt x="104" y="158"/>
                    </a:lnTo>
                    <a:lnTo>
                      <a:pt x="104" y="185"/>
                    </a:lnTo>
                    <a:lnTo>
                      <a:pt x="131" y="185"/>
                    </a:lnTo>
                    <a:lnTo>
                      <a:pt x="131" y="210"/>
                    </a:lnTo>
                    <a:lnTo>
                      <a:pt x="104" y="237"/>
                    </a:lnTo>
                    <a:lnTo>
                      <a:pt x="104" y="261"/>
                    </a:lnTo>
                    <a:lnTo>
                      <a:pt x="156" y="288"/>
                    </a:lnTo>
                    <a:lnTo>
                      <a:pt x="156" y="261"/>
                    </a:lnTo>
                    <a:lnTo>
                      <a:pt x="156" y="237"/>
                    </a:lnTo>
                    <a:lnTo>
                      <a:pt x="184" y="185"/>
                    </a:lnTo>
                    <a:lnTo>
                      <a:pt x="184" y="158"/>
                    </a:lnTo>
                    <a:lnTo>
                      <a:pt x="184" y="106"/>
                    </a:lnTo>
                    <a:lnTo>
                      <a:pt x="207" y="106"/>
                    </a:lnTo>
                    <a:lnTo>
                      <a:pt x="184" y="81"/>
                    </a:lnTo>
                    <a:lnTo>
                      <a:pt x="156" y="81"/>
                    </a:lnTo>
                    <a:lnTo>
                      <a:pt x="131" y="29"/>
                    </a:lnTo>
                    <a:lnTo>
                      <a:pt x="131" y="54"/>
                    </a:lnTo>
                    <a:lnTo>
                      <a:pt x="104" y="54"/>
                    </a:lnTo>
                    <a:lnTo>
                      <a:pt x="104" y="81"/>
                    </a:lnTo>
                    <a:lnTo>
                      <a:pt x="79" y="54"/>
                    </a:lnTo>
                    <a:lnTo>
                      <a:pt x="79" y="29"/>
                    </a:lnTo>
                    <a:lnTo>
                      <a:pt x="52" y="0"/>
                    </a:lnTo>
                    <a:lnTo>
                      <a:pt x="52" y="29"/>
                    </a:lnTo>
                    <a:lnTo>
                      <a:pt x="27" y="29"/>
                    </a:lnTo>
                    <a:lnTo>
                      <a:pt x="0" y="29"/>
                    </a:lnTo>
                    <a:lnTo>
                      <a:pt x="27" y="81"/>
                    </a:lnTo>
                    <a:lnTo>
                      <a:pt x="27" y="106"/>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4" name="Freeform 39">
                <a:extLst>
                  <a:ext uri="{FF2B5EF4-FFF2-40B4-BE49-F238E27FC236}">
                    <a16:creationId xmlns:a16="http://schemas.microsoft.com/office/drawing/2014/main" id="{A96ABA16-3331-4C85-B388-8936616943D6}"/>
                  </a:ext>
                </a:extLst>
              </p:cNvPr>
              <p:cNvSpPr>
                <a:spLocks/>
              </p:cNvSpPr>
              <p:nvPr/>
            </p:nvSpPr>
            <p:spPr bwMode="gray">
              <a:xfrm>
                <a:off x="2695" y="771"/>
                <a:ext cx="52" cy="53"/>
              </a:xfrm>
              <a:custGeom>
                <a:avLst/>
                <a:gdLst>
                  <a:gd name="T0" fmla="*/ 52 w 104"/>
                  <a:gd name="T1" fmla="*/ 106 h 106"/>
                  <a:gd name="T2" fmla="*/ 52 w 104"/>
                  <a:gd name="T3" fmla="*/ 81 h 106"/>
                  <a:gd name="T4" fmla="*/ 81 w 104"/>
                  <a:gd name="T5" fmla="*/ 54 h 106"/>
                  <a:gd name="T6" fmla="*/ 104 w 104"/>
                  <a:gd name="T7" fmla="*/ 54 h 106"/>
                  <a:gd name="T8" fmla="*/ 104 w 104"/>
                  <a:gd name="T9" fmla="*/ 29 h 106"/>
                  <a:gd name="T10" fmla="*/ 104 w 104"/>
                  <a:gd name="T11" fmla="*/ 0 h 106"/>
                  <a:gd name="T12" fmla="*/ 81 w 104"/>
                  <a:gd name="T13" fmla="*/ 0 h 106"/>
                  <a:gd name="T14" fmla="*/ 29 w 104"/>
                  <a:gd name="T15" fmla="*/ 29 h 106"/>
                  <a:gd name="T16" fmla="*/ 29 w 104"/>
                  <a:gd name="T17" fmla="*/ 0 h 106"/>
                  <a:gd name="T18" fmla="*/ 0 w 104"/>
                  <a:gd name="T19" fmla="*/ 29 h 106"/>
                  <a:gd name="T20" fmla="*/ 0 w 104"/>
                  <a:gd name="T21" fmla="*/ 54 h 106"/>
                  <a:gd name="T22" fmla="*/ 0 w 104"/>
                  <a:gd name="T23" fmla="*/ 81 h 106"/>
                  <a:gd name="T24" fmla="*/ 29 w 104"/>
                  <a:gd name="T25" fmla="*/ 106 h 106"/>
                  <a:gd name="T26" fmla="*/ 52 w 104"/>
                  <a:gd name="T2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06">
                    <a:moveTo>
                      <a:pt x="52" y="106"/>
                    </a:moveTo>
                    <a:lnTo>
                      <a:pt x="52" y="81"/>
                    </a:lnTo>
                    <a:lnTo>
                      <a:pt x="81" y="54"/>
                    </a:lnTo>
                    <a:lnTo>
                      <a:pt x="104" y="54"/>
                    </a:lnTo>
                    <a:lnTo>
                      <a:pt x="104" y="29"/>
                    </a:lnTo>
                    <a:lnTo>
                      <a:pt x="104" y="0"/>
                    </a:lnTo>
                    <a:lnTo>
                      <a:pt x="81" y="0"/>
                    </a:lnTo>
                    <a:lnTo>
                      <a:pt x="29" y="29"/>
                    </a:lnTo>
                    <a:lnTo>
                      <a:pt x="29" y="0"/>
                    </a:lnTo>
                    <a:lnTo>
                      <a:pt x="0" y="29"/>
                    </a:lnTo>
                    <a:lnTo>
                      <a:pt x="0" y="54"/>
                    </a:lnTo>
                    <a:lnTo>
                      <a:pt x="0" y="81"/>
                    </a:lnTo>
                    <a:lnTo>
                      <a:pt x="29" y="106"/>
                    </a:lnTo>
                    <a:lnTo>
                      <a:pt x="52" y="106"/>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5" name="Freeform 40">
                <a:extLst>
                  <a:ext uri="{FF2B5EF4-FFF2-40B4-BE49-F238E27FC236}">
                    <a16:creationId xmlns:a16="http://schemas.microsoft.com/office/drawing/2014/main" id="{BC73C462-6197-491E-9C08-E71865AA18E0}"/>
                  </a:ext>
                </a:extLst>
              </p:cNvPr>
              <p:cNvSpPr>
                <a:spLocks/>
              </p:cNvSpPr>
              <p:nvPr/>
            </p:nvSpPr>
            <p:spPr bwMode="gray">
              <a:xfrm>
                <a:off x="2695" y="849"/>
                <a:ext cx="41" cy="52"/>
              </a:xfrm>
              <a:custGeom>
                <a:avLst/>
                <a:gdLst>
                  <a:gd name="T0" fmla="*/ 0 w 81"/>
                  <a:gd name="T1" fmla="*/ 0 h 103"/>
                  <a:gd name="T2" fmla="*/ 0 w 81"/>
                  <a:gd name="T3" fmla="*/ 52 h 103"/>
                  <a:gd name="T4" fmla="*/ 29 w 81"/>
                  <a:gd name="T5" fmla="*/ 79 h 103"/>
                  <a:gd name="T6" fmla="*/ 52 w 81"/>
                  <a:gd name="T7" fmla="*/ 103 h 103"/>
                  <a:gd name="T8" fmla="*/ 81 w 81"/>
                  <a:gd name="T9" fmla="*/ 79 h 103"/>
                  <a:gd name="T10" fmla="*/ 81 w 81"/>
                  <a:gd name="T11" fmla="*/ 52 h 103"/>
                  <a:gd name="T12" fmla="*/ 52 w 81"/>
                  <a:gd name="T13" fmla="*/ 52 h 103"/>
                  <a:gd name="T14" fmla="*/ 29 w 81"/>
                  <a:gd name="T15" fmla="*/ 52 h 103"/>
                  <a:gd name="T16" fmla="*/ 29 w 81"/>
                  <a:gd name="T17" fmla="*/ 27 h 103"/>
                  <a:gd name="T18" fmla="*/ 0 w 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3">
                    <a:moveTo>
                      <a:pt x="0" y="0"/>
                    </a:moveTo>
                    <a:lnTo>
                      <a:pt x="0" y="52"/>
                    </a:lnTo>
                    <a:lnTo>
                      <a:pt x="29" y="79"/>
                    </a:lnTo>
                    <a:lnTo>
                      <a:pt x="52" y="103"/>
                    </a:lnTo>
                    <a:lnTo>
                      <a:pt x="81" y="79"/>
                    </a:lnTo>
                    <a:lnTo>
                      <a:pt x="81" y="52"/>
                    </a:lnTo>
                    <a:lnTo>
                      <a:pt x="52" y="52"/>
                    </a:lnTo>
                    <a:lnTo>
                      <a:pt x="29" y="52"/>
                    </a:lnTo>
                    <a:lnTo>
                      <a:pt x="29" y="27"/>
                    </a:lnTo>
                    <a:lnTo>
                      <a:pt x="0"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6" name="Freeform 41">
                <a:extLst>
                  <a:ext uri="{FF2B5EF4-FFF2-40B4-BE49-F238E27FC236}">
                    <a16:creationId xmlns:a16="http://schemas.microsoft.com/office/drawing/2014/main" id="{F52415D7-FE26-4E97-892D-C447FED4DE28}"/>
                  </a:ext>
                </a:extLst>
              </p:cNvPr>
              <p:cNvSpPr>
                <a:spLocks/>
              </p:cNvSpPr>
              <p:nvPr/>
            </p:nvSpPr>
            <p:spPr bwMode="gray">
              <a:xfrm>
                <a:off x="4076" y="2723"/>
                <a:ext cx="51" cy="25"/>
              </a:xfrm>
              <a:custGeom>
                <a:avLst/>
                <a:gdLst>
                  <a:gd name="T0" fmla="*/ 52 w 104"/>
                  <a:gd name="T1" fmla="*/ 0 h 52"/>
                  <a:gd name="T2" fmla="*/ 23 w 104"/>
                  <a:gd name="T3" fmla="*/ 0 h 52"/>
                  <a:gd name="T4" fmla="*/ 0 w 104"/>
                  <a:gd name="T5" fmla="*/ 23 h 52"/>
                  <a:gd name="T6" fmla="*/ 23 w 104"/>
                  <a:gd name="T7" fmla="*/ 23 h 52"/>
                  <a:gd name="T8" fmla="*/ 52 w 104"/>
                  <a:gd name="T9" fmla="*/ 52 h 52"/>
                  <a:gd name="T10" fmla="*/ 75 w 104"/>
                  <a:gd name="T11" fmla="*/ 23 h 52"/>
                  <a:gd name="T12" fmla="*/ 104 w 104"/>
                  <a:gd name="T13" fmla="*/ 23 h 52"/>
                  <a:gd name="T14" fmla="*/ 75 w 104"/>
                  <a:gd name="T15" fmla="*/ 0 h 52"/>
                  <a:gd name="T16" fmla="*/ 52 w 104"/>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52">
                    <a:moveTo>
                      <a:pt x="52" y="0"/>
                    </a:moveTo>
                    <a:lnTo>
                      <a:pt x="23" y="0"/>
                    </a:lnTo>
                    <a:lnTo>
                      <a:pt x="0" y="23"/>
                    </a:lnTo>
                    <a:lnTo>
                      <a:pt x="23" y="23"/>
                    </a:lnTo>
                    <a:lnTo>
                      <a:pt x="52" y="52"/>
                    </a:lnTo>
                    <a:lnTo>
                      <a:pt x="75" y="23"/>
                    </a:lnTo>
                    <a:lnTo>
                      <a:pt x="104" y="23"/>
                    </a:lnTo>
                    <a:lnTo>
                      <a:pt x="75" y="0"/>
                    </a:lnTo>
                    <a:lnTo>
                      <a:pt x="52"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7" name="Freeform 42">
                <a:extLst>
                  <a:ext uri="{FF2B5EF4-FFF2-40B4-BE49-F238E27FC236}">
                    <a16:creationId xmlns:a16="http://schemas.microsoft.com/office/drawing/2014/main" id="{F0151995-8E90-4530-8A58-E3B9CC0EB761}"/>
                  </a:ext>
                </a:extLst>
              </p:cNvPr>
              <p:cNvSpPr>
                <a:spLocks/>
              </p:cNvSpPr>
              <p:nvPr/>
            </p:nvSpPr>
            <p:spPr bwMode="gray">
              <a:xfrm>
                <a:off x="4127" y="2723"/>
                <a:ext cx="90" cy="25"/>
              </a:xfrm>
              <a:custGeom>
                <a:avLst/>
                <a:gdLst>
                  <a:gd name="T0" fmla="*/ 127 w 179"/>
                  <a:gd name="T1" fmla="*/ 23 h 52"/>
                  <a:gd name="T2" fmla="*/ 127 w 179"/>
                  <a:gd name="T3" fmla="*/ 0 h 52"/>
                  <a:gd name="T4" fmla="*/ 104 w 179"/>
                  <a:gd name="T5" fmla="*/ 0 h 52"/>
                  <a:gd name="T6" fmla="*/ 52 w 179"/>
                  <a:gd name="T7" fmla="*/ 0 h 52"/>
                  <a:gd name="T8" fmla="*/ 0 w 179"/>
                  <a:gd name="T9" fmla="*/ 0 h 52"/>
                  <a:gd name="T10" fmla="*/ 0 w 179"/>
                  <a:gd name="T11" fmla="*/ 23 h 52"/>
                  <a:gd name="T12" fmla="*/ 23 w 179"/>
                  <a:gd name="T13" fmla="*/ 23 h 52"/>
                  <a:gd name="T14" fmla="*/ 52 w 179"/>
                  <a:gd name="T15" fmla="*/ 52 h 52"/>
                  <a:gd name="T16" fmla="*/ 75 w 179"/>
                  <a:gd name="T17" fmla="*/ 52 h 52"/>
                  <a:gd name="T18" fmla="*/ 104 w 179"/>
                  <a:gd name="T19" fmla="*/ 52 h 52"/>
                  <a:gd name="T20" fmla="*/ 179 w 179"/>
                  <a:gd name="T21" fmla="*/ 52 h 52"/>
                  <a:gd name="T22" fmla="*/ 179 w 179"/>
                  <a:gd name="T23" fmla="*/ 23 h 52"/>
                  <a:gd name="T24" fmla="*/ 155 w 179"/>
                  <a:gd name="T25" fmla="*/ 23 h 52"/>
                  <a:gd name="T26" fmla="*/ 127 w 179"/>
                  <a:gd name="T27" fmla="*/ 2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52">
                    <a:moveTo>
                      <a:pt x="127" y="23"/>
                    </a:moveTo>
                    <a:lnTo>
                      <a:pt x="127" y="0"/>
                    </a:lnTo>
                    <a:lnTo>
                      <a:pt x="104" y="0"/>
                    </a:lnTo>
                    <a:lnTo>
                      <a:pt x="52" y="0"/>
                    </a:lnTo>
                    <a:lnTo>
                      <a:pt x="0" y="0"/>
                    </a:lnTo>
                    <a:lnTo>
                      <a:pt x="0" y="23"/>
                    </a:lnTo>
                    <a:lnTo>
                      <a:pt x="23" y="23"/>
                    </a:lnTo>
                    <a:lnTo>
                      <a:pt x="52" y="52"/>
                    </a:lnTo>
                    <a:lnTo>
                      <a:pt x="75" y="52"/>
                    </a:lnTo>
                    <a:lnTo>
                      <a:pt x="104" y="52"/>
                    </a:lnTo>
                    <a:lnTo>
                      <a:pt x="179" y="52"/>
                    </a:lnTo>
                    <a:lnTo>
                      <a:pt x="179" y="23"/>
                    </a:lnTo>
                    <a:lnTo>
                      <a:pt x="155" y="23"/>
                    </a:lnTo>
                    <a:lnTo>
                      <a:pt x="127" y="2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8" name="Freeform 43">
                <a:extLst>
                  <a:ext uri="{FF2B5EF4-FFF2-40B4-BE49-F238E27FC236}">
                    <a16:creationId xmlns:a16="http://schemas.microsoft.com/office/drawing/2014/main" id="{896B187F-4841-4BE2-8AE8-263E1E74DBF7}"/>
                  </a:ext>
                </a:extLst>
              </p:cNvPr>
              <p:cNvSpPr>
                <a:spLocks/>
              </p:cNvSpPr>
              <p:nvPr/>
            </p:nvSpPr>
            <p:spPr bwMode="gray">
              <a:xfrm>
                <a:off x="4283" y="2723"/>
                <a:ext cx="38" cy="11"/>
              </a:xfrm>
              <a:custGeom>
                <a:avLst/>
                <a:gdLst>
                  <a:gd name="T0" fmla="*/ 25 w 77"/>
                  <a:gd name="T1" fmla="*/ 0 h 23"/>
                  <a:gd name="T2" fmla="*/ 0 w 77"/>
                  <a:gd name="T3" fmla="*/ 0 h 23"/>
                  <a:gd name="T4" fmla="*/ 25 w 77"/>
                  <a:gd name="T5" fmla="*/ 23 h 23"/>
                  <a:gd name="T6" fmla="*/ 52 w 77"/>
                  <a:gd name="T7" fmla="*/ 23 h 23"/>
                  <a:gd name="T8" fmla="*/ 77 w 77"/>
                  <a:gd name="T9" fmla="*/ 23 h 23"/>
                  <a:gd name="T10" fmla="*/ 77 w 77"/>
                  <a:gd name="T11" fmla="*/ 0 h 23"/>
                  <a:gd name="T12" fmla="*/ 52 w 77"/>
                  <a:gd name="T13" fmla="*/ 0 h 23"/>
                  <a:gd name="T14" fmla="*/ 25 w 77"/>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3">
                    <a:moveTo>
                      <a:pt x="25" y="0"/>
                    </a:moveTo>
                    <a:lnTo>
                      <a:pt x="0" y="0"/>
                    </a:lnTo>
                    <a:lnTo>
                      <a:pt x="25" y="23"/>
                    </a:lnTo>
                    <a:lnTo>
                      <a:pt x="52" y="23"/>
                    </a:lnTo>
                    <a:lnTo>
                      <a:pt x="77" y="23"/>
                    </a:lnTo>
                    <a:lnTo>
                      <a:pt x="77" y="0"/>
                    </a:lnTo>
                    <a:lnTo>
                      <a:pt x="52" y="0"/>
                    </a:lnTo>
                    <a:lnTo>
                      <a:pt x="25"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69" name="Freeform 44">
                <a:extLst>
                  <a:ext uri="{FF2B5EF4-FFF2-40B4-BE49-F238E27FC236}">
                    <a16:creationId xmlns:a16="http://schemas.microsoft.com/office/drawing/2014/main" id="{71AF0DA9-89D6-47CD-93A7-3821A4C9F778}"/>
                  </a:ext>
                </a:extLst>
              </p:cNvPr>
              <p:cNvSpPr>
                <a:spLocks/>
              </p:cNvSpPr>
              <p:nvPr/>
            </p:nvSpPr>
            <p:spPr bwMode="gray">
              <a:xfrm>
                <a:off x="4283" y="2748"/>
                <a:ext cx="12" cy="12"/>
              </a:xfrm>
              <a:custGeom>
                <a:avLst/>
                <a:gdLst>
                  <a:gd name="T0" fmla="*/ 25 w 25"/>
                  <a:gd name="T1" fmla="*/ 23 h 23"/>
                  <a:gd name="T2" fmla="*/ 25 w 25"/>
                  <a:gd name="T3" fmla="*/ 0 h 23"/>
                  <a:gd name="T4" fmla="*/ 0 w 25"/>
                  <a:gd name="T5" fmla="*/ 0 h 23"/>
                  <a:gd name="T6" fmla="*/ 25 w 25"/>
                  <a:gd name="T7" fmla="*/ 23 h 23"/>
                </a:gdLst>
                <a:ahLst/>
                <a:cxnLst>
                  <a:cxn ang="0">
                    <a:pos x="T0" y="T1"/>
                  </a:cxn>
                  <a:cxn ang="0">
                    <a:pos x="T2" y="T3"/>
                  </a:cxn>
                  <a:cxn ang="0">
                    <a:pos x="T4" y="T5"/>
                  </a:cxn>
                  <a:cxn ang="0">
                    <a:pos x="T6" y="T7"/>
                  </a:cxn>
                </a:cxnLst>
                <a:rect l="0" t="0" r="r" b="b"/>
                <a:pathLst>
                  <a:path w="25" h="23">
                    <a:moveTo>
                      <a:pt x="25" y="23"/>
                    </a:moveTo>
                    <a:lnTo>
                      <a:pt x="25" y="0"/>
                    </a:lnTo>
                    <a:lnTo>
                      <a:pt x="0" y="0"/>
                    </a:lnTo>
                    <a:lnTo>
                      <a:pt x="25" y="2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0" name="Freeform 45">
                <a:extLst>
                  <a:ext uri="{FF2B5EF4-FFF2-40B4-BE49-F238E27FC236}">
                    <a16:creationId xmlns:a16="http://schemas.microsoft.com/office/drawing/2014/main" id="{B705EC47-372E-42E6-AC09-872DE2A80A73}"/>
                  </a:ext>
                </a:extLst>
              </p:cNvPr>
              <p:cNvSpPr>
                <a:spLocks/>
              </p:cNvSpPr>
              <p:nvPr/>
            </p:nvSpPr>
            <p:spPr bwMode="gray">
              <a:xfrm>
                <a:off x="4373" y="2697"/>
                <a:ext cx="15" cy="26"/>
              </a:xfrm>
              <a:custGeom>
                <a:avLst/>
                <a:gdLst>
                  <a:gd name="T0" fmla="*/ 0 w 29"/>
                  <a:gd name="T1" fmla="*/ 52 h 52"/>
                  <a:gd name="T2" fmla="*/ 29 w 29"/>
                  <a:gd name="T3" fmla="*/ 23 h 52"/>
                  <a:gd name="T4" fmla="*/ 29 w 29"/>
                  <a:gd name="T5" fmla="*/ 0 h 52"/>
                  <a:gd name="T6" fmla="*/ 0 w 29"/>
                  <a:gd name="T7" fmla="*/ 23 h 52"/>
                  <a:gd name="T8" fmla="*/ 0 w 29"/>
                  <a:gd name="T9" fmla="*/ 52 h 52"/>
                </a:gdLst>
                <a:ahLst/>
                <a:cxnLst>
                  <a:cxn ang="0">
                    <a:pos x="T0" y="T1"/>
                  </a:cxn>
                  <a:cxn ang="0">
                    <a:pos x="T2" y="T3"/>
                  </a:cxn>
                  <a:cxn ang="0">
                    <a:pos x="T4" y="T5"/>
                  </a:cxn>
                  <a:cxn ang="0">
                    <a:pos x="T6" y="T7"/>
                  </a:cxn>
                  <a:cxn ang="0">
                    <a:pos x="T8" y="T9"/>
                  </a:cxn>
                </a:cxnLst>
                <a:rect l="0" t="0" r="r" b="b"/>
                <a:pathLst>
                  <a:path w="29" h="52">
                    <a:moveTo>
                      <a:pt x="0" y="52"/>
                    </a:moveTo>
                    <a:lnTo>
                      <a:pt x="29" y="23"/>
                    </a:lnTo>
                    <a:lnTo>
                      <a:pt x="29" y="0"/>
                    </a:lnTo>
                    <a:lnTo>
                      <a:pt x="0" y="23"/>
                    </a:lnTo>
                    <a:lnTo>
                      <a:pt x="0"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1" name="Freeform 46">
                <a:extLst>
                  <a:ext uri="{FF2B5EF4-FFF2-40B4-BE49-F238E27FC236}">
                    <a16:creationId xmlns:a16="http://schemas.microsoft.com/office/drawing/2014/main" id="{81E841DE-32BD-473B-96CA-3B4AED807319}"/>
                  </a:ext>
                </a:extLst>
              </p:cNvPr>
              <p:cNvSpPr>
                <a:spLocks/>
              </p:cNvSpPr>
              <p:nvPr/>
            </p:nvSpPr>
            <p:spPr bwMode="gray">
              <a:xfrm>
                <a:off x="4139" y="2488"/>
                <a:ext cx="144" cy="194"/>
              </a:xfrm>
              <a:custGeom>
                <a:avLst/>
                <a:gdLst>
                  <a:gd name="T0" fmla="*/ 288 w 288"/>
                  <a:gd name="T1" fmla="*/ 155 h 388"/>
                  <a:gd name="T2" fmla="*/ 261 w 288"/>
                  <a:gd name="T3" fmla="*/ 128 h 388"/>
                  <a:gd name="T4" fmla="*/ 261 w 288"/>
                  <a:gd name="T5" fmla="*/ 104 h 388"/>
                  <a:gd name="T6" fmla="*/ 261 w 288"/>
                  <a:gd name="T7" fmla="*/ 77 h 388"/>
                  <a:gd name="T8" fmla="*/ 261 w 288"/>
                  <a:gd name="T9" fmla="*/ 52 h 388"/>
                  <a:gd name="T10" fmla="*/ 261 w 288"/>
                  <a:gd name="T11" fmla="*/ 0 h 388"/>
                  <a:gd name="T12" fmla="*/ 236 w 288"/>
                  <a:gd name="T13" fmla="*/ 0 h 388"/>
                  <a:gd name="T14" fmla="*/ 209 w 288"/>
                  <a:gd name="T15" fmla="*/ 0 h 388"/>
                  <a:gd name="T16" fmla="*/ 184 w 288"/>
                  <a:gd name="T17" fmla="*/ 25 h 388"/>
                  <a:gd name="T18" fmla="*/ 184 w 288"/>
                  <a:gd name="T19" fmla="*/ 77 h 388"/>
                  <a:gd name="T20" fmla="*/ 156 w 288"/>
                  <a:gd name="T21" fmla="*/ 104 h 388"/>
                  <a:gd name="T22" fmla="*/ 104 w 288"/>
                  <a:gd name="T23" fmla="*/ 128 h 388"/>
                  <a:gd name="T24" fmla="*/ 81 w 288"/>
                  <a:gd name="T25" fmla="*/ 155 h 388"/>
                  <a:gd name="T26" fmla="*/ 81 w 288"/>
                  <a:gd name="T27" fmla="*/ 180 h 388"/>
                  <a:gd name="T28" fmla="*/ 52 w 288"/>
                  <a:gd name="T29" fmla="*/ 180 h 388"/>
                  <a:gd name="T30" fmla="*/ 29 w 288"/>
                  <a:gd name="T31" fmla="*/ 180 h 388"/>
                  <a:gd name="T32" fmla="*/ 29 w 288"/>
                  <a:gd name="T33" fmla="*/ 207 h 388"/>
                  <a:gd name="T34" fmla="*/ 0 w 288"/>
                  <a:gd name="T35" fmla="*/ 232 h 388"/>
                  <a:gd name="T36" fmla="*/ 0 w 288"/>
                  <a:gd name="T37" fmla="*/ 259 h 388"/>
                  <a:gd name="T38" fmla="*/ 0 w 288"/>
                  <a:gd name="T39" fmla="*/ 284 h 388"/>
                  <a:gd name="T40" fmla="*/ 0 w 288"/>
                  <a:gd name="T41" fmla="*/ 313 h 388"/>
                  <a:gd name="T42" fmla="*/ 29 w 288"/>
                  <a:gd name="T43" fmla="*/ 313 h 388"/>
                  <a:gd name="T44" fmla="*/ 29 w 288"/>
                  <a:gd name="T45" fmla="*/ 336 h 388"/>
                  <a:gd name="T46" fmla="*/ 29 w 288"/>
                  <a:gd name="T47" fmla="*/ 365 h 388"/>
                  <a:gd name="T48" fmla="*/ 52 w 288"/>
                  <a:gd name="T49" fmla="*/ 388 h 388"/>
                  <a:gd name="T50" fmla="*/ 81 w 288"/>
                  <a:gd name="T51" fmla="*/ 388 h 388"/>
                  <a:gd name="T52" fmla="*/ 104 w 288"/>
                  <a:gd name="T53" fmla="*/ 365 h 388"/>
                  <a:gd name="T54" fmla="*/ 156 w 288"/>
                  <a:gd name="T55" fmla="*/ 365 h 388"/>
                  <a:gd name="T56" fmla="*/ 184 w 288"/>
                  <a:gd name="T57" fmla="*/ 365 h 388"/>
                  <a:gd name="T58" fmla="*/ 209 w 288"/>
                  <a:gd name="T59" fmla="*/ 336 h 388"/>
                  <a:gd name="T60" fmla="*/ 209 w 288"/>
                  <a:gd name="T61" fmla="*/ 313 h 388"/>
                  <a:gd name="T62" fmla="*/ 209 w 288"/>
                  <a:gd name="T63" fmla="*/ 284 h 388"/>
                  <a:gd name="T64" fmla="*/ 236 w 288"/>
                  <a:gd name="T65" fmla="*/ 259 h 388"/>
                  <a:gd name="T66" fmla="*/ 236 w 288"/>
                  <a:gd name="T67" fmla="*/ 232 h 388"/>
                  <a:gd name="T68" fmla="*/ 261 w 288"/>
                  <a:gd name="T69" fmla="*/ 207 h 388"/>
                  <a:gd name="T70" fmla="*/ 288 w 288"/>
                  <a:gd name="T71" fmla="*/ 180 h 388"/>
                  <a:gd name="T72" fmla="*/ 288 w 288"/>
                  <a:gd name="T73" fmla="*/ 15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 h="388">
                    <a:moveTo>
                      <a:pt x="288" y="155"/>
                    </a:moveTo>
                    <a:lnTo>
                      <a:pt x="261" y="128"/>
                    </a:lnTo>
                    <a:lnTo>
                      <a:pt x="261" y="104"/>
                    </a:lnTo>
                    <a:lnTo>
                      <a:pt x="261" y="77"/>
                    </a:lnTo>
                    <a:lnTo>
                      <a:pt x="261" y="52"/>
                    </a:lnTo>
                    <a:lnTo>
                      <a:pt x="261" y="0"/>
                    </a:lnTo>
                    <a:lnTo>
                      <a:pt x="236" y="0"/>
                    </a:lnTo>
                    <a:lnTo>
                      <a:pt x="209" y="0"/>
                    </a:lnTo>
                    <a:lnTo>
                      <a:pt x="184" y="25"/>
                    </a:lnTo>
                    <a:lnTo>
                      <a:pt x="184" y="77"/>
                    </a:lnTo>
                    <a:lnTo>
                      <a:pt x="156" y="104"/>
                    </a:lnTo>
                    <a:lnTo>
                      <a:pt x="104" y="128"/>
                    </a:lnTo>
                    <a:lnTo>
                      <a:pt x="81" y="155"/>
                    </a:lnTo>
                    <a:lnTo>
                      <a:pt x="81" y="180"/>
                    </a:lnTo>
                    <a:lnTo>
                      <a:pt x="52" y="180"/>
                    </a:lnTo>
                    <a:lnTo>
                      <a:pt x="29" y="180"/>
                    </a:lnTo>
                    <a:lnTo>
                      <a:pt x="29" y="207"/>
                    </a:lnTo>
                    <a:lnTo>
                      <a:pt x="0" y="232"/>
                    </a:lnTo>
                    <a:lnTo>
                      <a:pt x="0" y="259"/>
                    </a:lnTo>
                    <a:lnTo>
                      <a:pt x="0" y="284"/>
                    </a:lnTo>
                    <a:lnTo>
                      <a:pt x="0" y="313"/>
                    </a:lnTo>
                    <a:lnTo>
                      <a:pt x="29" y="313"/>
                    </a:lnTo>
                    <a:lnTo>
                      <a:pt x="29" y="336"/>
                    </a:lnTo>
                    <a:lnTo>
                      <a:pt x="29" y="365"/>
                    </a:lnTo>
                    <a:lnTo>
                      <a:pt x="52" y="388"/>
                    </a:lnTo>
                    <a:lnTo>
                      <a:pt x="81" y="388"/>
                    </a:lnTo>
                    <a:lnTo>
                      <a:pt x="104" y="365"/>
                    </a:lnTo>
                    <a:lnTo>
                      <a:pt x="156" y="365"/>
                    </a:lnTo>
                    <a:lnTo>
                      <a:pt x="184" y="365"/>
                    </a:lnTo>
                    <a:lnTo>
                      <a:pt x="209" y="336"/>
                    </a:lnTo>
                    <a:lnTo>
                      <a:pt x="209" y="313"/>
                    </a:lnTo>
                    <a:lnTo>
                      <a:pt x="209" y="284"/>
                    </a:lnTo>
                    <a:lnTo>
                      <a:pt x="236" y="259"/>
                    </a:lnTo>
                    <a:lnTo>
                      <a:pt x="236" y="232"/>
                    </a:lnTo>
                    <a:lnTo>
                      <a:pt x="261" y="207"/>
                    </a:lnTo>
                    <a:lnTo>
                      <a:pt x="288" y="180"/>
                    </a:lnTo>
                    <a:lnTo>
                      <a:pt x="288" y="155"/>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2" name="Freeform 47">
                <a:extLst>
                  <a:ext uri="{FF2B5EF4-FFF2-40B4-BE49-F238E27FC236}">
                    <a16:creationId xmlns:a16="http://schemas.microsoft.com/office/drawing/2014/main" id="{E6E724F4-1327-4AFE-A54A-3DEAB5B2C464}"/>
                  </a:ext>
                </a:extLst>
              </p:cNvPr>
              <p:cNvSpPr>
                <a:spLocks/>
              </p:cNvSpPr>
              <p:nvPr/>
            </p:nvSpPr>
            <p:spPr bwMode="gray">
              <a:xfrm>
                <a:off x="4231" y="2527"/>
                <a:ext cx="13" cy="26"/>
              </a:xfrm>
              <a:custGeom>
                <a:avLst/>
                <a:gdLst>
                  <a:gd name="T0" fmla="*/ 0 w 25"/>
                  <a:gd name="T1" fmla="*/ 51 h 51"/>
                  <a:gd name="T2" fmla="*/ 0 w 25"/>
                  <a:gd name="T3" fmla="*/ 27 h 51"/>
                  <a:gd name="T4" fmla="*/ 25 w 25"/>
                  <a:gd name="T5" fmla="*/ 0 h 51"/>
                  <a:gd name="T6" fmla="*/ 0 w 25"/>
                  <a:gd name="T7" fmla="*/ 51 h 51"/>
                </a:gdLst>
                <a:ahLst/>
                <a:cxnLst>
                  <a:cxn ang="0">
                    <a:pos x="T0" y="T1"/>
                  </a:cxn>
                  <a:cxn ang="0">
                    <a:pos x="T2" y="T3"/>
                  </a:cxn>
                  <a:cxn ang="0">
                    <a:pos x="T4" y="T5"/>
                  </a:cxn>
                  <a:cxn ang="0">
                    <a:pos x="T6" y="T7"/>
                  </a:cxn>
                </a:cxnLst>
                <a:rect l="0" t="0" r="r" b="b"/>
                <a:pathLst>
                  <a:path w="25" h="51">
                    <a:moveTo>
                      <a:pt x="0" y="51"/>
                    </a:moveTo>
                    <a:lnTo>
                      <a:pt x="0" y="27"/>
                    </a:lnTo>
                    <a:lnTo>
                      <a:pt x="25" y="0"/>
                    </a:lnTo>
                    <a:lnTo>
                      <a:pt x="0" y="51"/>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3" name="Freeform 48">
                <a:extLst>
                  <a:ext uri="{FF2B5EF4-FFF2-40B4-BE49-F238E27FC236}">
                    <a16:creationId xmlns:a16="http://schemas.microsoft.com/office/drawing/2014/main" id="{FEA17F8A-CB0A-4FC0-93A1-963BF147C3F5}"/>
                  </a:ext>
                </a:extLst>
              </p:cNvPr>
              <p:cNvSpPr>
                <a:spLocks/>
              </p:cNvSpPr>
              <p:nvPr/>
            </p:nvSpPr>
            <p:spPr bwMode="gray">
              <a:xfrm>
                <a:off x="4355" y="2592"/>
                <a:ext cx="6" cy="13"/>
              </a:xfrm>
              <a:custGeom>
                <a:avLst/>
                <a:gdLst>
                  <a:gd name="T0" fmla="*/ 11 w 11"/>
                  <a:gd name="T1" fmla="*/ 0 h 25"/>
                  <a:gd name="T2" fmla="*/ 0 w 11"/>
                  <a:gd name="T3" fmla="*/ 21 h 25"/>
                  <a:gd name="T4" fmla="*/ 11 w 11"/>
                  <a:gd name="T5" fmla="*/ 25 h 25"/>
                  <a:gd name="T6" fmla="*/ 11 w 11"/>
                  <a:gd name="T7" fmla="*/ 0 h 25"/>
                </a:gdLst>
                <a:ahLst/>
                <a:cxnLst>
                  <a:cxn ang="0">
                    <a:pos x="T0" y="T1"/>
                  </a:cxn>
                  <a:cxn ang="0">
                    <a:pos x="T2" y="T3"/>
                  </a:cxn>
                  <a:cxn ang="0">
                    <a:pos x="T4" y="T5"/>
                  </a:cxn>
                  <a:cxn ang="0">
                    <a:pos x="T6" y="T7"/>
                  </a:cxn>
                </a:cxnLst>
                <a:rect l="0" t="0" r="r" b="b"/>
                <a:pathLst>
                  <a:path w="11" h="25">
                    <a:moveTo>
                      <a:pt x="11" y="0"/>
                    </a:moveTo>
                    <a:lnTo>
                      <a:pt x="0" y="21"/>
                    </a:lnTo>
                    <a:lnTo>
                      <a:pt x="11" y="25"/>
                    </a:lnTo>
                    <a:lnTo>
                      <a:pt x="11"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4" name="Freeform 49">
                <a:extLst>
                  <a:ext uri="{FF2B5EF4-FFF2-40B4-BE49-F238E27FC236}">
                    <a16:creationId xmlns:a16="http://schemas.microsoft.com/office/drawing/2014/main" id="{28B18C0E-7AF9-4F69-A2D4-18DCD6D4ECD5}"/>
                  </a:ext>
                </a:extLst>
              </p:cNvPr>
              <p:cNvSpPr>
                <a:spLocks/>
              </p:cNvSpPr>
              <p:nvPr/>
            </p:nvSpPr>
            <p:spPr bwMode="gray">
              <a:xfrm>
                <a:off x="4367" y="2553"/>
                <a:ext cx="6" cy="13"/>
              </a:xfrm>
              <a:custGeom>
                <a:avLst/>
                <a:gdLst>
                  <a:gd name="T0" fmla="*/ 11 w 11"/>
                  <a:gd name="T1" fmla="*/ 0 h 27"/>
                  <a:gd name="T2" fmla="*/ 0 w 11"/>
                  <a:gd name="T3" fmla="*/ 27 h 27"/>
                  <a:gd name="T4" fmla="*/ 11 w 11"/>
                  <a:gd name="T5" fmla="*/ 27 h 27"/>
                  <a:gd name="T6" fmla="*/ 11 w 11"/>
                  <a:gd name="T7" fmla="*/ 0 h 27"/>
                </a:gdLst>
                <a:ahLst/>
                <a:cxnLst>
                  <a:cxn ang="0">
                    <a:pos x="T0" y="T1"/>
                  </a:cxn>
                  <a:cxn ang="0">
                    <a:pos x="T2" y="T3"/>
                  </a:cxn>
                  <a:cxn ang="0">
                    <a:pos x="T4" y="T5"/>
                  </a:cxn>
                  <a:cxn ang="0">
                    <a:pos x="T6" y="T7"/>
                  </a:cxn>
                </a:cxnLst>
                <a:rect l="0" t="0" r="r" b="b"/>
                <a:pathLst>
                  <a:path w="11" h="27">
                    <a:moveTo>
                      <a:pt x="11" y="0"/>
                    </a:moveTo>
                    <a:lnTo>
                      <a:pt x="0" y="27"/>
                    </a:lnTo>
                    <a:lnTo>
                      <a:pt x="11" y="27"/>
                    </a:lnTo>
                    <a:lnTo>
                      <a:pt x="11"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5" name="Freeform 50">
                <a:extLst>
                  <a:ext uri="{FF2B5EF4-FFF2-40B4-BE49-F238E27FC236}">
                    <a16:creationId xmlns:a16="http://schemas.microsoft.com/office/drawing/2014/main" id="{4318DE98-4D7E-42AD-A4A9-B857D1A31BA6}"/>
                  </a:ext>
                </a:extLst>
              </p:cNvPr>
              <p:cNvSpPr>
                <a:spLocks/>
              </p:cNvSpPr>
              <p:nvPr/>
            </p:nvSpPr>
            <p:spPr bwMode="gray">
              <a:xfrm>
                <a:off x="4283" y="2566"/>
                <a:ext cx="84" cy="131"/>
              </a:xfrm>
              <a:custGeom>
                <a:avLst/>
                <a:gdLst>
                  <a:gd name="T0" fmla="*/ 77 w 169"/>
                  <a:gd name="T1" fmla="*/ 0 h 261"/>
                  <a:gd name="T2" fmla="*/ 77 w 169"/>
                  <a:gd name="T3" fmla="*/ 25 h 261"/>
                  <a:gd name="T4" fmla="*/ 52 w 169"/>
                  <a:gd name="T5" fmla="*/ 52 h 261"/>
                  <a:gd name="T6" fmla="*/ 25 w 169"/>
                  <a:gd name="T7" fmla="*/ 104 h 261"/>
                  <a:gd name="T8" fmla="*/ 25 w 169"/>
                  <a:gd name="T9" fmla="*/ 129 h 261"/>
                  <a:gd name="T10" fmla="*/ 25 w 169"/>
                  <a:gd name="T11" fmla="*/ 181 h 261"/>
                  <a:gd name="T12" fmla="*/ 0 w 169"/>
                  <a:gd name="T13" fmla="*/ 210 h 261"/>
                  <a:gd name="T14" fmla="*/ 25 w 169"/>
                  <a:gd name="T15" fmla="*/ 261 h 261"/>
                  <a:gd name="T16" fmla="*/ 52 w 169"/>
                  <a:gd name="T17" fmla="*/ 261 h 261"/>
                  <a:gd name="T18" fmla="*/ 52 w 169"/>
                  <a:gd name="T19" fmla="*/ 233 h 261"/>
                  <a:gd name="T20" fmla="*/ 52 w 169"/>
                  <a:gd name="T21" fmla="*/ 181 h 261"/>
                  <a:gd name="T22" fmla="*/ 77 w 169"/>
                  <a:gd name="T23" fmla="*/ 158 h 261"/>
                  <a:gd name="T24" fmla="*/ 104 w 169"/>
                  <a:gd name="T25" fmla="*/ 158 h 261"/>
                  <a:gd name="T26" fmla="*/ 129 w 169"/>
                  <a:gd name="T27" fmla="*/ 158 h 261"/>
                  <a:gd name="T28" fmla="*/ 129 w 169"/>
                  <a:gd name="T29" fmla="*/ 129 h 261"/>
                  <a:gd name="T30" fmla="*/ 129 w 169"/>
                  <a:gd name="T31" fmla="*/ 104 h 261"/>
                  <a:gd name="T32" fmla="*/ 144 w 169"/>
                  <a:gd name="T33" fmla="*/ 73 h 261"/>
                  <a:gd name="T34" fmla="*/ 104 w 169"/>
                  <a:gd name="T35" fmla="*/ 52 h 261"/>
                  <a:gd name="T36" fmla="*/ 155 w 169"/>
                  <a:gd name="T37" fmla="*/ 25 h 261"/>
                  <a:gd name="T38" fmla="*/ 169 w 169"/>
                  <a:gd name="T39" fmla="*/ 0 h 261"/>
                  <a:gd name="T40" fmla="*/ 129 w 169"/>
                  <a:gd name="T41" fmla="*/ 0 h 261"/>
                  <a:gd name="T42" fmla="*/ 77 w 169"/>
                  <a:gd name="T4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261">
                    <a:moveTo>
                      <a:pt x="77" y="0"/>
                    </a:moveTo>
                    <a:lnTo>
                      <a:pt x="77" y="25"/>
                    </a:lnTo>
                    <a:lnTo>
                      <a:pt x="52" y="52"/>
                    </a:lnTo>
                    <a:lnTo>
                      <a:pt x="25" y="104"/>
                    </a:lnTo>
                    <a:lnTo>
                      <a:pt x="25" y="129"/>
                    </a:lnTo>
                    <a:lnTo>
                      <a:pt x="25" y="181"/>
                    </a:lnTo>
                    <a:lnTo>
                      <a:pt x="0" y="210"/>
                    </a:lnTo>
                    <a:lnTo>
                      <a:pt x="25" y="261"/>
                    </a:lnTo>
                    <a:lnTo>
                      <a:pt x="52" y="261"/>
                    </a:lnTo>
                    <a:lnTo>
                      <a:pt x="52" y="233"/>
                    </a:lnTo>
                    <a:lnTo>
                      <a:pt x="52" y="181"/>
                    </a:lnTo>
                    <a:lnTo>
                      <a:pt x="77" y="158"/>
                    </a:lnTo>
                    <a:lnTo>
                      <a:pt x="104" y="158"/>
                    </a:lnTo>
                    <a:lnTo>
                      <a:pt x="129" y="158"/>
                    </a:lnTo>
                    <a:lnTo>
                      <a:pt x="129" y="129"/>
                    </a:lnTo>
                    <a:lnTo>
                      <a:pt x="129" y="104"/>
                    </a:lnTo>
                    <a:lnTo>
                      <a:pt x="144" y="73"/>
                    </a:lnTo>
                    <a:lnTo>
                      <a:pt x="104" y="52"/>
                    </a:lnTo>
                    <a:lnTo>
                      <a:pt x="155" y="25"/>
                    </a:lnTo>
                    <a:lnTo>
                      <a:pt x="169" y="0"/>
                    </a:lnTo>
                    <a:lnTo>
                      <a:pt x="129" y="0"/>
                    </a:lnTo>
                    <a:lnTo>
                      <a:pt x="77"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6" name="Freeform 51">
                <a:extLst>
                  <a:ext uri="{FF2B5EF4-FFF2-40B4-BE49-F238E27FC236}">
                    <a16:creationId xmlns:a16="http://schemas.microsoft.com/office/drawing/2014/main" id="{CC3ABC94-08A7-4FF2-8443-38EE87E734C9}"/>
                  </a:ext>
                </a:extLst>
              </p:cNvPr>
              <p:cNvSpPr>
                <a:spLocks/>
              </p:cNvSpPr>
              <p:nvPr/>
            </p:nvSpPr>
            <p:spPr bwMode="gray">
              <a:xfrm>
                <a:off x="4425" y="2527"/>
                <a:ext cx="14" cy="26"/>
              </a:xfrm>
              <a:custGeom>
                <a:avLst/>
                <a:gdLst>
                  <a:gd name="T0" fmla="*/ 29 w 29"/>
                  <a:gd name="T1" fmla="*/ 27 h 51"/>
                  <a:gd name="T2" fmla="*/ 29 w 29"/>
                  <a:gd name="T3" fmla="*/ 0 h 51"/>
                  <a:gd name="T4" fmla="*/ 0 w 29"/>
                  <a:gd name="T5" fmla="*/ 27 h 51"/>
                  <a:gd name="T6" fmla="*/ 0 w 29"/>
                  <a:gd name="T7" fmla="*/ 51 h 51"/>
                  <a:gd name="T8" fmla="*/ 29 w 29"/>
                  <a:gd name="T9" fmla="*/ 51 h 51"/>
                  <a:gd name="T10" fmla="*/ 29 w 29"/>
                  <a:gd name="T11" fmla="*/ 27 h 51"/>
                </a:gdLst>
                <a:ahLst/>
                <a:cxnLst>
                  <a:cxn ang="0">
                    <a:pos x="T0" y="T1"/>
                  </a:cxn>
                  <a:cxn ang="0">
                    <a:pos x="T2" y="T3"/>
                  </a:cxn>
                  <a:cxn ang="0">
                    <a:pos x="T4" y="T5"/>
                  </a:cxn>
                  <a:cxn ang="0">
                    <a:pos x="T6" y="T7"/>
                  </a:cxn>
                  <a:cxn ang="0">
                    <a:pos x="T8" y="T9"/>
                  </a:cxn>
                  <a:cxn ang="0">
                    <a:pos x="T10" y="T11"/>
                  </a:cxn>
                </a:cxnLst>
                <a:rect l="0" t="0" r="r" b="b"/>
                <a:pathLst>
                  <a:path w="29" h="51">
                    <a:moveTo>
                      <a:pt x="29" y="27"/>
                    </a:moveTo>
                    <a:lnTo>
                      <a:pt x="29" y="0"/>
                    </a:lnTo>
                    <a:lnTo>
                      <a:pt x="0" y="27"/>
                    </a:lnTo>
                    <a:lnTo>
                      <a:pt x="0" y="51"/>
                    </a:lnTo>
                    <a:lnTo>
                      <a:pt x="29" y="51"/>
                    </a:lnTo>
                    <a:lnTo>
                      <a:pt x="29" y="27"/>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7" name="Freeform 52">
                <a:extLst>
                  <a:ext uri="{FF2B5EF4-FFF2-40B4-BE49-F238E27FC236}">
                    <a16:creationId xmlns:a16="http://schemas.microsoft.com/office/drawing/2014/main" id="{170467DD-7E45-4C03-9F2C-62BD20F470BB}"/>
                  </a:ext>
                </a:extLst>
              </p:cNvPr>
              <p:cNvSpPr>
                <a:spLocks/>
              </p:cNvSpPr>
              <p:nvPr/>
            </p:nvSpPr>
            <p:spPr bwMode="gray">
              <a:xfrm>
                <a:off x="4347" y="2411"/>
                <a:ext cx="67" cy="63"/>
              </a:xfrm>
              <a:custGeom>
                <a:avLst/>
                <a:gdLst>
                  <a:gd name="T0" fmla="*/ 80 w 132"/>
                  <a:gd name="T1" fmla="*/ 23 h 127"/>
                  <a:gd name="T2" fmla="*/ 26 w 132"/>
                  <a:gd name="T3" fmla="*/ 52 h 127"/>
                  <a:gd name="T4" fmla="*/ 0 w 132"/>
                  <a:gd name="T5" fmla="*/ 52 h 127"/>
                  <a:gd name="T6" fmla="*/ 0 w 132"/>
                  <a:gd name="T7" fmla="*/ 75 h 127"/>
                  <a:gd name="T8" fmla="*/ 26 w 132"/>
                  <a:gd name="T9" fmla="*/ 75 h 127"/>
                  <a:gd name="T10" fmla="*/ 51 w 132"/>
                  <a:gd name="T11" fmla="*/ 104 h 127"/>
                  <a:gd name="T12" fmla="*/ 51 w 132"/>
                  <a:gd name="T13" fmla="*/ 127 h 127"/>
                  <a:gd name="T14" fmla="*/ 103 w 132"/>
                  <a:gd name="T15" fmla="*/ 104 h 127"/>
                  <a:gd name="T16" fmla="*/ 132 w 132"/>
                  <a:gd name="T17" fmla="*/ 52 h 127"/>
                  <a:gd name="T18" fmla="*/ 132 w 132"/>
                  <a:gd name="T19" fmla="*/ 23 h 127"/>
                  <a:gd name="T20" fmla="*/ 132 w 132"/>
                  <a:gd name="T21" fmla="*/ 0 h 127"/>
                  <a:gd name="T22" fmla="*/ 103 w 132"/>
                  <a:gd name="T23" fmla="*/ 0 h 127"/>
                  <a:gd name="T24" fmla="*/ 80 w 132"/>
                  <a:gd name="T25" fmla="*/ 2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27">
                    <a:moveTo>
                      <a:pt x="80" y="23"/>
                    </a:moveTo>
                    <a:lnTo>
                      <a:pt x="26" y="52"/>
                    </a:lnTo>
                    <a:lnTo>
                      <a:pt x="0" y="52"/>
                    </a:lnTo>
                    <a:lnTo>
                      <a:pt x="0" y="75"/>
                    </a:lnTo>
                    <a:lnTo>
                      <a:pt x="26" y="75"/>
                    </a:lnTo>
                    <a:lnTo>
                      <a:pt x="51" y="104"/>
                    </a:lnTo>
                    <a:lnTo>
                      <a:pt x="51" y="127"/>
                    </a:lnTo>
                    <a:lnTo>
                      <a:pt x="103" y="104"/>
                    </a:lnTo>
                    <a:lnTo>
                      <a:pt x="132" y="52"/>
                    </a:lnTo>
                    <a:lnTo>
                      <a:pt x="132" y="23"/>
                    </a:lnTo>
                    <a:lnTo>
                      <a:pt x="132" y="0"/>
                    </a:lnTo>
                    <a:lnTo>
                      <a:pt x="103" y="0"/>
                    </a:lnTo>
                    <a:lnTo>
                      <a:pt x="80" y="2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8" name="Freeform 53">
                <a:extLst>
                  <a:ext uri="{FF2B5EF4-FFF2-40B4-BE49-F238E27FC236}">
                    <a16:creationId xmlns:a16="http://schemas.microsoft.com/office/drawing/2014/main" id="{203863FD-A744-4CD5-93B1-6B1B0B2DA033}"/>
                  </a:ext>
                </a:extLst>
              </p:cNvPr>
              <p:cNvSpPr>
                <a:spLocks/>
              </p:cNvSpPr>
              <p:nvPr/>
            </p:nvSpPr>
            <p:spPr bwMode="gray">
              <a:xfrm>
                <a:off x="4335" y="2448"/>
                <a:ext cx="12" cy="15"/>
              </a:xfrm>
              <a:custGeom>
                <a:avLst/>
                <a:gdLst>
                  <a:gd name="T0" fmla="*/ 25 w 25"/>
                  <a:gd name="T1" fmla="*/ 29 h 29"/>
                  <a:gd name="T2" fmla="*/ 25 w 25"/>
                  <a:gd name="T3" fmla="*/ 0 h 29"/>
                  <a:gd name="T4" fmla="*/ 0 w 25"/>
                  <a:gd name="T5" fmla="*/ 29 h 29"/>
                  <a:gd name="T6" fmla="*/ 25 w 25"/>
                  <a:gd name="T7" fmla="*/ 29 h 29"/>
                </a:gdLst>
                <a:ahLst/>
                <a:cxnLst>
                  <a:cxn ang="0">
                    <a:pos x="T0" y="T1"/>
                  </a:cxn>
                  <a:cxn ang="0">
                    <a:pos x="T2" y="T3"/>
                  </a:cxn>
                  <a:cxn ang="0">
                    <a:pos x="T4" y="T5"/>
                  </a:cxn>
                  <a:cxn ang="0">
                    <a:pos x="T6" y="T7"/>
                  </a:cxn>
                </a:cxnLst>
                <a:rect l="0" t="0" r="r" b="b"/>
                <a:pathLst>
                  <a:path w="25" h="29">
                    <a:moveTo>
                      <a:pt x="25" y="29"/>
                    </a:moveTo>
                    <a:lnTo>
                      <a:pt x="25" y="0"/>
                    </a:lnTo>
                    <a:lnTo>
                      <a:pt x="0" y="29"/>
                    </a:lnTo>
                    <a:lnTo>
                      <a:pt x="25" y="29"/>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79" name="Freeform 54">
                <a:extLst>
                  <a:ext uri="{FF2B5EF4-FFF2-40B4-BE49-F238E27FC236}">
                    <a16:creationId xmlns:a16="http://schemas.microsoft.com/office/drawing/2014/main" id="{74114865-BEE4-4313-BC49-58430DF4CA15}"/>
                  </a:ext>
                </a:extLst>
              </p:cNvPr>
              <p:cNvSpPr>
                <a:spLocks/>
              </p:cNvSpPr>
              <p:nvPr/>
            </p:nvSpPr>
            <p:spPr bwMode="gray">
              <a:xfrm>
                <a:off x="4295" y="2267"/>
                <a:ext cx="40" cy="92"/>
              </a:xfrm>
              <a:custGeom>
                <a:avLst/>
                <a:gdLst>
                  <a:gd name="T0" fmla="*/ 27 w 79"/>
                  <a:gd name="T1" fmla="*/ 0 h 184"/>
                  <a:gd name="T2" fmla="*/ 27 w 79"/>
                  <a:gd name="T3" fmla="*/ 26 h 184"/>
                  <a:gd name="T4" fmla="*/ 27 w 79"/>
                  <a:gd name="T5" fmla="*/ 51 h 184"/>
                  <a:gd name="T6" fmla="*/ 27 w 79"/>
                  <a:gd name="T7" fmla="*/ 78 h 184"/>
                  <a:gd name="T8" fmla="*/ 0 w 79"/>
                  <a:gd name="T9" fmla="*/ 132 h 184"/>
                  <a:gd name="T10" fmla="*/ 0 w 79"/>
                  <a:gd name="T11" fmla="*/ 155 h 184"/>
                  <a:gd name="T12" fmla="*/ 27 w 79"/>
                  <a:gd name="T13" fmla="*/ 184 h 184"/>
                  <a:gd name="T14" fmla="*/ 52 w 79"/>
                  <a:gd name="T15" fmla="*/ 155 h 184"/>
                  <a:gd name="T16" fmla="*/ 52 w 79"/>
                  <a:gd name="T17" fmla="*/ 132 h 184"/>
                  <a:gd name="T18" fmla="*/ 52 w 79"/>
                  <a:gd name="T19" fmla="*/ 103 h 184"/>
                  <a:gd name="T20" fmla="*/ 79 w 79"/>
                  <a:gd name="T21" fmla="*/ 78 h 184"/>
                  <a:gd name="T22" fmla="*/ 79 w 79"/>
                  <a:gd name="T23" fmla="*/ 51 h 184"/>
                  <a:gd name="T24" fmla="*/ 79 w 79"/>
                  <a:gd name="T25" fmla="*/ 26 h 184"/>
                  <a:gd name="T26" fmla="*/ 52 w 79"/>
                  <a:gd name="T27" fmla="*/ 0 h 184"/>
                  <a:gd name="T28" fmla="*/ 27 w 79"/>
                  <a:gd name="T2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184">
                    <a:moveTo>
                      <a:pt x="27" y="0"/>
                    </a:moveTo>
                    <a:lnTo>
                      <a:pt x="27" y="26"/>
                    </a:lnTo>
                    <a:lnTo>
                      <a:pt x="27" y="51"/>
                    </a:lnTo>
                    <a:lnTo>
                      <a:pt x="27" y="78"/>
                    </a:lnTo>
                    <a:lnTo>
                      <a:pt x="0" y="132"/>
                    </a:lnTo>
                    <a:lnTo>
                      <a:pt x="0" y="155"/>
                    </a:lnTo>
                    <a:lnTo>
                      <a:pt x="27" y="184"/>
                    </a:lnTo>
                    <a:lnTo>
                      <a:pt x="52" y="155"/>
                    </a:lnTo>
                    <a:lnTo>
                      <a:pt x="52" y="132"/>
                    </a:lnTo>
                    <a:lnTo>
                      <a:pt x="52" y="103"/>
                    </a:lnTo>
                    <a:lnTo>
                      <a:pt x="79" y="78"/>
                    </a:lnTo>
                    <a:lnTo>
                      <a:pt x="79" y="51"/>
                    </a:lnTo>
                    <a:lnTo>
                      <a:pt x="79" y="26"/>
                    </a:lnTo>
                    <a:lnTo>
                      <a:pt x="52" y="0"/>
                    </a:lnTo>
                    <a:lnTo>
                      <a:pt x="27"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0" name="Freeform 55">
                <a:extLst>
                  <a:ext uri="{FF2B5EF4-FFF2-40B4-BE49-F238E27FC236}">
                    <a16:creationId xmlns:a16="http://schemas.microsoft.com/office/drawing/2014/main" id="{A042B510-0F6E-4701-A6D7-64881868C490}"/>
                  </a:ext>
                </a:extLst>
              </p:cNvPr>
              <p:cNvSpPr>
                <a:spLocks/>
              </p:cNvSpPr>
              <p:nvPr/>
            </p:nvSpPr>
            <p:spPr bwMode="gray">
              <a:xfrm>
                <a:off x="2409" y="1421"/>
                <a:ext cx="92" cy="182"/>
              </a:xfrm>
              <a:custGeom>
                <a:avLst/>
                <a:gdLst>
                  <a:gd name="T0" fmla="*/ 81 w 185"/>
                  <a:gd name="T1" fmla="*/ 207 h 362"/>
                  <a:gd name="T2" fmla="*/ 81 w 185"/>
                  <a:gd name="T3" fmla="*/ 234 h 362"/>
                  <a:gd name="T4" fmla="*/ 52 w 185"/>
                  <a:gd name="T5" fmla="*/ 234 h 362"/>
                  <a:gd name="T6" fmla="*/ 29 w 185"/>
                  <a:gd name="T7" fmla="*/ 288 h 362"/>
                  <a:gd name="T8" fmla="*/ 29 w 185"/>
                  <a:gd name="T9" fmla="*/ 311 h 362"/>
                  <a:gd name="T10" fmla="*/ 29 w 185"/>
                  <a:gd name="T11" fmla="*/ 339 h 362"/>
                  <a:gd name="T12" fmla="*/ 0 w 185"/>
                  <a:gd name="T13" fmla="*/ 339 h 362"/>
                  <a:gd name="T14" fmla="*/ 0 w 185"/>
                  <a:gd name="T15" fmla="*/ 362 h 362"/>
                  <a:gd name="T16" fmla="*/ 29 w 185"/>
                  <a:gd name="T17" fmla="*/ 362 h 362"/>
                  <a:gd name="T18" fmla="*/ 81 w 185"/>
                  <a:gd name="T19" fmla="*/ 339 h 362"/>
                  <a:gd name="T20" fmla="*/ 81 w 185"/>
                  <a:gd name="T21" fmla="*/ 362 h 362"/>
                  <a:gd name="T22" fmla="*/ 133 w 185"/>
                  <a:gd name="T23" fmla="*/ 362 h 362"/>
                  <a:gd name="T24" fmla="*/ 133 w 185"/>
                  <a:gd name="T25" fmla="*/ 339 h 362"/>
                  <a:gd name="T26" fmla="*/ 156 w 185"/>
                  <a:gd name="T27" fmla="*/ 362 h 362"/>
                  <a:gd name="T28" fmla="*/ 156 w 185"/>
                  <a:gd name="T29" fmla="*/ 339 h 362"/>
                  <a:gd name="T30" fmla="*/ 185 w 185"/>
                  <a:gd name="T31" fmla="*/ 339 h 362"/>
                  <a:gd name="T32" fmla="*/ 156 w 185"/>
                  <a:gd name="T33" fmla="*/ 311 h 362"/>
                  <a:gd name="T34" fmla="*/ 185 w 185"/>
                  <a:gd name="T35" fmla="*/ 311 h 362"/>
                  <a:gd name="T36" fmla="*/ 185 w 185"/>
                  <a:gd name="T37" fmla="*/ 288 h 362"/>
                  <a:gd name="T38" fmla="*/ 156 w 185"/>
                  <a:gd name="T39" fmla="*/ 259 h 362"/>
                  <a:gd name="T40" fmla="*/ 156 w 185"/>
                  <a:gd name="T41" fmla="*/ 234 h 362"/>
                  <a:gd name="T42" fmla="*/ 133 w 185"/>
                  <a:gd name="T43" fmla="*/ 207 h 362"/>
                  <a:gd name="T44" fmla="*/ 156 w 185"/>
                  <a:gd name="T45" fmla="*/ 182 h 362"/>
                  <a:gd name="T46" fmla="*/ 133 w 185"/>
                  <a:gd name="T47" fmla="*/ 182 h 362"/>
                  <a:gd name="T48" fmla="*/ 104 w 185"/>
                  <a:gd name="T49" fmla="*/ 182 h 362"/>
                  <a:gd name="T50" fmla="*/ 133 w 185"/>
                  <a:gd name="T51" fmla="*/ 155 h 362"/>
                  <a:gd name="T52" fmla="*/ 104 w 185"/>
                  <a:gd name="T53" fmla="*/ 155 h 362"/>
                  <a:gd name="T54" fmla="*/ 104 w 185"/>
                  <a:gd name="T55" fmla="*/ 130 h 362"/>
                  <a:gd name="T56" fmla="*/ 81 w 185"/>
                  <a:gd name="T57" fmla="*/ 103 h 362"/>
                  <a:gd name="T58" fmla="*/ 104 w 185"/>
                  <a:gd name="T59" fmla="*/ 52 h 362"/>
                  <a:gd name="T60" fmla="*/ 81 w 185"/>
                  <a:gd name="T61" fmla="*/ 52 h 362"/>
                  <a:gd name="T62" fmla="*/ 81 w 185"/>
                  <a:gd name="T63" fmla="*/ 27 h 362"/>
                  <a:gd name="T64" fmla="*/ 52 w 185"/>
                  <a:gd name="T65" fmla="*/ 27 h 362"/>
                  <a:gd name="T66" fmla="*/ 81 w 185"/>
                  <a:gd name="T67" fmla="*/ 0 h 362"/>
                  <a:gd name="T68" fmla="*/ 29 w 185"/>
                  <a:gd name="T69" fmla="*/ 0 h 362"/>
                  <a:gd name="T70" fmla="*/ 29 w 185"/>
                  <a:gd name="T71" fmla="*/ 27 h 362"/>
                  <a:gd name="T72" fmla="*/ 29 w 185"/>
                  <a:gd name="T73" fmla="*/ 52 h 362"/>
                  <a:gd name="T74" fmla="*/ 29 w 185"/>
                  <a:gd name="T75" fmla="*/ 78 h 362"/>
                  <a:gd name="T76" fmla="*/ 0 w 185"/>
                  <a:gd name="T77" fmla="*/ 78 h 362"/>
                  <a:gd name="T78" fmla="*/ 0 w 185"/>
                  <a:gd name="T79" fmla="*/ 103 h 362"/>
                  <a:gd name="T80" fmla="*/ 29 w 185"/>
                  <a:gd name="T81" fmla="*/ 103 h 362"/>
                  <a:gd name="T82" fmla="*/ 29 w 185"/>
                  <a:gd name="T83" fmla="*/ 130 h 362"/>
                  <a:gd name="T84" fmla="*/ 29 w 185"/>
                  <a:gd name="T85" fmla="*/ 155 h 362"/>
                  <a:gd name="T86" fmla="*/ 52 w 185"/>
                  <a:gd name="T87" fmla="*/ 182 h 362"/>
                  <a:gd name="T88" fmla="*/ 81 w 185"/>
                  <a:gd name="T89" fmla="*/ 20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62">
                    <a:moveTo>
                      <a:pt x="81" y="207"/>
                    </a:moveTo>
                    <a:lnTo>
                      <a:pt x="81" y="234"/>
                    </a:lnTo>
                    <a:lnTo>
                      <a:pt x="52" y="234"/>
                    </a:lnTo>
                    <a:lnTo>
                      <a:pt x="29" y="288"/>
                    </a:lnTo>
                    <a:lnTo>
                      <a:pt x="29" y="311"/>
                    </a:lnTo>
                    <a:lnTo>
                      <a:pt x="29" y="339"/>
                    </a:lnTo>
                    <a:lnTo>
                      <a:pt x="0" y="339"/>
                    </a:lnTo>
                    <a:lnTo>
                      <a:pt x="0" y="362"/>
                    </a:lnTo>
                    <a:lnTo>
                      <a:pt x="29" y="362"/>
                    </a:lnTo>
                    <a:lnTo>
                      <a:pt x="81" y="339"/>
                    </a:lnTo>
                    <a:lnTo>
                      <a:pt x="81" y="362"/>
                    </a:lnTo>
                    <a:lnTo>
                      <a:pt x="133" y="362"/>
                    </a:lnTo>
                    <a:lnTo>
                      <a:pt x="133" y="339"/>
                    </a:lnTo>
                    <a:lnTo>
                      <a:pt x="156" y="362"/>
                    </a:lnTo>
                    <a:lnTo>
                      <a:pt x="156" y="339"/>
                    </a:lnTo>
                    <a:lnTo>
                      <a:pt x="185" y="339"/>
                    </a:lnTo>
                    <a:lnTo>
                      <a:pt x="156" y="311"/>
                    </a:lnTo>
                    <a:lnTo>
                      <a:pt x="185" y="311"/>
                    </a:lnTo>
                    <a:lnTo>
                      <a:pt x="185" y="288"/>
                    </a:lnTo>
                    <a:lnTo>
                      <a:pt x="156" y="259"/>
                    </a:lnTo>
                    <a:lnTo>
                      <a:pt x="156" y="234"/>
                    </a:lnTo>
                    <a:lnTo>
                      <a:pt x="133" y="207"/>
                    </a:lnTo>
                    <a:lnTo>
                      <a:pt x="156" y="182"/>
                    </a:lnTo>
                    <a:lnTo>
                      <a:pt x="133" y="182"/>
                    </a:lnTo>
                    <a:lnTo>
                      <a:pt x="104" y="182"/>
                    </a:lnTo>
                    <a:lnTo>
                      <a:pt x="133" y="155"/>
                    </a:lnTo>
                    <a:lnTo>
                      <a:pt x="104" y="155"/>
                    </a:lnTo>
                    <a:lnTo>
                      <a:pt x="104" y="130"/>
                    </a:lnTo>
                    <a:lnTo>
                      <a:pt x="81" y="103"/>
                    </a:lnTo>
                    <a:lnTo>
                      <a:pt x="104" y="52"/>
                    </a:lnTo>
                    <a:lnTo>
                      <a:pt x="81" y="52"/>
                    </a:lnTo>
                    <a:lnTo>
                      <a:pt x="81" y="27"/>
                    </a:lnTo>
                    <a:lnTo>
                      <a:pt x="52" y="27"/>
                    </a:lnTo>
                    <a:lnTo>
                      <a:pt x="81" y="0"/>
                    </a:lnTo>
                    <a:lnTo>
                      <a:pt x="29" y="0"/>
                    </a:lnTo>
                    <a:lnTo>
                      <a:pt x="29" y="27"/>
                    </a:lnTo>
                    <a:lnTo>
                      <a:pt x="29" y="52"/>
                    </a:lnTo>
                    <a:lnTo>
                      <a:pt x="29" y="78"/>
                    </a:lnTo>
                    <a:lnTo>
                      <a:pt x="0" y="78"/>
                    </a:lnTo>
                    <a:lnTo>
                      <a:pt x="0" y="103"/>
                    </a:lnTo>
                    <a:lnTo>
                      <a:pt x="29" y="103"/>
                    </a:lnTo>
                    <a:lnTo>
                      <a:pt x="29" y="130"/>
                    </a:lnTo>
                    <a:lnTo>
                      <a:pt x="29" y="155"/>
                    </a:lnTo>
                    <a:lnTo>
                      <a:pt x="52" y="182"/>
                    </a:lnTo>
                    <a:lnTo>
                      <a:pt x="81" y="207"/>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1" name="Freeform 56">
                <a:extLst>
                  <a:ext uri="{FF2B5EF4-FFF2-40B4-BE49-F238E27FC236}">
                    <a16:creationId xmlns:a16="http://schemas.microsoft.com/office/drawing/2014/main" id="{D565EC9F-80DD-48C0-9465-00C492F60FBC}"/>
                  </a:ext>
                </a:extLst>
              </p:cNvPr>
              <p:cNvSpPr>
                <a:spLocks/>
              </p:cNvSpPr>
              <p:nvPr/>
            </p:nvSpPr>
            <p:spPr bwMode="gray">
              <a:xfrm>
                <a:off x="2345" y="1487"/>
                <a:ext cx="79" cy="78"/>
              </a:xfrm>
              <a:custGeom>
                <a:avLst/>
                <a:gdLst>
                  <a:gd name="T0" fmla="*/ 25 w 157"/>
                  <a:gd name="T1" fmla="*/ 158 h 158"/>
                  <a:gd name="T2" fmla="*/ 76 w 157"/>
                  <a:gd name="T3" fmla="*/ 158 h 158"/>
                  <a:gd name="T4" fmla="*/ 105 w 157"/>
                  <a:gd name="T5" fmla="*/ 129 h 158"/>
                  <a:gd name="T6" fmla="*/ 105 w 157"/>
                  <a:gd name="T7" fmla="*/ 158 h 158"/>
                  <a:gd name="T8" fmla="*/ 128 w 157"/>
                  <a:gd name="T9" fmla="*/ 158 h 158"/>
                  <a:gd name="T10" fmla="*/ 128 w 157"/>
                  <a:gd name="T11" fmla="*/ 104 h 158"/>
                  <a:gd name="T12" fmla="*/ 128 w 157"/>
                  <a:gd name="T13" fmla="*/ 77 h 158"/>
                  <a:gd name="T14" fmla="*/ 157 w 157"/>
                  <a:gd name="T15" fmla="*/ 52 h 158"/>
                  <a:gd name="T16" fmla="*/ 157 w 157"/>
                  <a:gd name="T17" fmla="*/ 25 h 158"/>
                  <a:gd name="T18" fmla="*/ 128 w 157"/>
                  <a:gd name="T19" fmla="*/ 25 h 158"/>
                  <a:gd name="T20" fmla="*/ 105 w 157"/>
                  <a:gd name="T21" fmla="*/ 0 h 158"/>
                  <a:gd name="T22" fmla="*/ 105 w 157"/>
                  <a:gd name="T23" fmla="*/ 25 h 158"/>
                  <a:gd name="T24" fmla="*/ 76 w 157"/>
                  <a:gd name="T25" fmla="*/ 25 h 158"/>
                  <a:gd name="T26" fmla="*/ 53 w 157"/>
                  <a:gd name="T27" fmla="*/ 25 h 158"/>
                  <a:gd name="T28" fmla="*/ 25 w 157"/>
                  <a:gd name="T29" fmla="*/ 52 h 158"/>
                  <a:gd name="T30" fmla="*/ 53 w 157"/>
                  <a:gd name="T31" fmla="*/ 77 h 158"/>
                  <a:gd name="T32" fmla="*/ 25 w 157"/>
                  <a:gd name="T33" fmla="*/ 77 h 158"/>
                  <a:gd name="T34" fmla="*/ 53 w 157"/>
                  <a:gd name="T35" fmla="*/ 104 h 158"/>
                  <a:gd name="T36" fmla="*/ 0 w 157"/>
                  <a:gd name="T37" fmla="*/ 129 h 158"/>
                  <a:gd name="T38" fmla="*/ 25 w 157"/>
                  <a:gd name="T39"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158">
                    <a:moveTo>
                      <a:pt x="25" y="158"/>
                    </a:moveTo>
                    <a:lnTo>
                      <a:pt x="76" y="158"/>
                    </a:lnTo>
                    <a:lnTo>
                      <a:pt x="105" y="129"/>
                    </a:lnTo>
                    <a:lnTo>
                      <a:pt x="105" y="158"/>
                    </a:lnTo>
                    <a:lnTo>
                      <a:pt x="128" y="158"/>
                    </a:lnTo>
                    <a:lnTo>
                      <a:pt x="128" y="104"/>
                    </a:lnTo>
                    <a:lnTo>
                      <a:pt x="128" y="77"/>
                    </a:lnTo>
                    <a:lnTo>
                      <a:pt x="157" y="52"/>
                    </a:lnTo>
                    <a:lnTo>
                      <a:pt x="157" y="25"/>
                    </a:lnTo>
                    <a:lnTo>
                      <a:pt x="128" y="25"/>
                    </a:lnTo>
                    <a:lnTo>
                      <a:pt x="105" y="0"/>
                    </a:lnTo>
                    <a:lnTo>
                      <a:pt x="105" y="25"/>
                    </a:lnTo>
                    <a:lnTo>
                      <a:pt x="76" y="25"/>
                    </a:lnTo>
                    <a:lnTo>
                      <a:pt x="53" y="25"/>
                    </a:lnTo>
                    <a:lnTo>
                      <a:pt x="25" y="52"/>
                    </a:lnTo>
                    <a:lnTo>
                      <a:pt x="53" y="77"/>
                    </a:lnTo>
                    <a:lnTo>
                      <a:pt x="25" y="77"/>
                    </a:lnTo>
                    <a:lnTo>
                      <a:pt x="53" y="104"/>
                    </a:lnTo>
                    <a:lnTo>
                      <a:pt x="0" y="129"/>
                    </a:lnTo>
                    <a:lnTo>
                      <a:pt x="25" y="158"/>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2" name="Freeform 57">
                <a:extLst>
                  <a:ext uri="{FF2B5EF4-FFF2-40B4-BE49-F238E27FC236}">
                    <a16:creationId xmlns:a16="http://schemas.microsoft.com/office/drawing/2014/main" id="{95AF7F8C-6E69-4513-A9C0-C8BA6CA3ED97}"/>
                  </a:ext>
                </a:extLst>
              </p:cNvPr>
              <p:cNvSpPr>
                <a:spLocks/>
              </p:cNvSpPr>
              <p:nvPr/>
            </p:nvSpPr>
            <p:spPr bwMode="gray">
              <a:xfrm>
                <a:off x="4477" y="1487"/>
                <a:ext cx="66" cy="222"/>
              </a:xfrm>
              <a:custGeom>
                <a:avLst/>
                <a:gdLst>
                  <a:gd name="T0" fmla="*/ 80 w 132"/>
                  <a:gd name="T1" fmla="*/ 417 h 445"/>
                  <a:gd name="T2" fmla="*/ 80 w 132"/>
                  <a:gd name="T3" fmla="*/ 445 h 445"/>
                  <a:gd name="T4" fmla="*/ 109 w 132"/>
                  <a:gd name="T5" fmla="*/ 417 h 445"/>
                  <a:gd name="T6" fmla="*/ 132 w 132"/>
                  <a:gd name="T7" fmla="*/ 445 h 445"/>
                  <a:gd name="T8" fmla="*/ 132 w 132"/>
                  <a:gd name="T9" fmla="*/ 417 h 445"/>
                  <a:gd name="T10" fmla="*/ 109 w 132"/>
                  <a:gd name="T11" fmla="*/ 388 h 445"/>
                  <a:gd name="T12" fmla="*/ 80 w 132"/>
                  <a:gd name="T13" fmla="*/ 261 h 445"/>
                  <a:gd name="T14" fmla="*/ 109 w 132"/>
                  <a:gd name="T15" fmla="*/ 261 h 445"/>
                  <a:gd name="T16" fmla="*/ 109 w 132"/>
                  <a:gd name="T17" fmla="*/ 232 h 445"/>
                  <a:gd name="T18" fmla="*/ 52 w 132"/>
                  <a:gd name="T19" fmla="*/ 181 h 445"/>
                  <a:gd name="T20" fmla="*/ 52 w 132"/>
                  <a:gd name="T21" fmla="*/ 77 h 445"/>
                  <a:gd name="T22" fmla="*/ 29 w 132"/>
                  <a:gd name="T23" fmla="*/ 25 h 445"/>
                  <a:gd name="T24" fmla="*/ 0 w 132"/>
                  <a:gd name="T25" fmla="*/ 0 h 445"/>
                  <a:gd name="T26" fmla="*/ 29 w 132"/>
                  <a:gd name="T27" fmla="*/ 52 h 445"/>
                  <a:gd name="T28" fmla="*/ 29 w 132"/>
                  <a:gd name="T29" fmla="*/ 129 h 445"/>
                  <a:gd name="T30" fmla="*/ 52 w 132"/>
                  <a:gd name="T31" fmla="*/ 313 h 445"/>
                  <a:gd name="T32" fmla="*/ 80 w 132"/>
                  <a:gd name="T33" fmla="*/ 41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445">
                    <a:moveTo>
                      <a:pt x="80" y="417"/>
                    </a:moveTo>
                    <a:lnTo>
                      <a:pt x="80" y="445"/>
                    </a:lnTo>
                    <a:lnTo>
                      <a:pt x="109" y="417"/>
                    </a:lnTo>
                    <a:lnTo>
                      <a:pt x="132" y="445"/>
                    </a:lnTo>
                    <a:lnTo>
                      <a:pt x="132" y="417"/>
                    </a:lnTo>
                    <a:lnTo>
                      <a:pt x="109" y="388"/>
                    </a:lnTo>
                    <a:lnTo>
                      <a:pt x="80" y="261"/>
                    </a:lnTo>
                    <a:lnTo>
                      <a:pt x="109" y="261"/>
                    </a:lnTo>
                    <a:lnTo>
                      <a:pt x="109" y="232"/>
                    </a:lnTo>
                    <a:lnTo>
                      <a:pt x="52" y="181"/>
                    </a:lnTo>
                    <a:lnTo>
                      <a:pt x="52" y="77"/>
                    </a:lnTo>
                    <a:lnTo>
                      <a:pt x="29" y="25"/>
                    </a:lnTo>
                    <a:lnTo>
                      <a:pt x="0" y="0"/>
                    </a:lnTo>
                    <a:lnTo>
                      <a:pt x="29" y="52"/>
                    </a:lnTo>
                    <a:lnTo>
                      <a:pt x="29" y="129"/>
                    </a:lnTo>
                    <a:lnTo>
                      <a:pt x="52" y="313"/>
                    </a:lnTo>
                    <a:lnTo>
                      <a:pt x="80" y="417"/>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3" name="Freeform 58">
                <a:extLst>
                  <a:ext uri="{FF2B5EF4-FFF2-40B4-BE49-F238E27FC236}">
                    <a16:creationId xmlns:a16="http://schemas.microsoft.com/office/drawing/2014/main" id="{C5B47F62-A487-4307-82C9-9D9D3F756E05}"/>
                  </a:ext>
                </a:extLst>
              </p:cNvPr>
              <p:cNvSpPr>
                <a:spLocks/>
              </p:cNvSpPr>
              <p:nvPr/>
            </p:nvSpPr>
            <p:spPr bwMode="gray">
              <a:xfrm>
                <a:off x="4532" y="1721"/>
                <a:ext cx="77" cy="77"/>
              </a:xfrm>
              <a:custGeom>
                <a:avLst/>
                <a:gdLst>
                  <a:gd name="T0" fmla="*/ 75 w 156"/>
                  <a:gd name="T1" fmla="*/ 51 h 155"/>
                  <a:gd name="T2" fmla="*/ 0 w 156"/>
                  <a:gd name="T3" fmla="*/ 0 h 155"/>
                  <a:gd name="T4" fmla="*/ 0 w 156"/>
                  <a:gd name="T5" fmla="*/ 51 h 155"/>
                  <a:gd name="T6" fmla="*/ 0 w 156"/>
                  <a:gd name="T7" fmla="*/ 155 h 155"/>
                  <a:gd name="T8" fmla="*/ 23 w 156"/>
                  <a:gd name="T9" fmla="*/ 132 h 155"/>
                  <a:gd name="T10" fmla="*/ 75 w 156"/>
                  <a:gd name="T11" fmla="*/ 155 h 155"/>
                  <a:gd name="T12" fmla="*/ 75 w 156"/>
                  <a:gd name="T13" fmla="*/ 132 h 155"/>
                  <a:gd name="T14" fmla="*/ 156 w 156"/>
                  <a:gd name="T15" fmla="*/ 76 h 155"/>
                  <a:gd name="T16" fmla="*/ 127 w 156"/>
                  <a:gd name="T17" fmla="*/ 51 h 155"/>
                  <a:gd name="T18" fmla="*/ 75 w 156"/>
                  <a:gd name="T19" fmla="*/ 5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5">
                    <a:moveTo>
                      <a:pt x="75" y="51"/>
                    </a:moveTo>
                    <a:lnTo>
                      <a:pt x="0" y="0"/>
                    </a:lnTo>
                    <a:lnTo>
                      <a:pt x="0" y="51"/>
                    </a:lnTo>
                    <a:lnTo>
                      <a:pt x="0" y="155"/>
                    </a:lnTo>
                    <a:lnTo>
                      <a:pt x="23" y="132"/>
                    </a:lnTo>
                    <a:lnTo>
                      <a:pt x="75" y="155"/>
                    </a:lnTo>
                    <a:lnTo>
                      <a:pt x="75" y="132"/>
                    </a:lnTo>
                    <a:lnTo>
                      <a:pt x="156" y="76"/>
                    </a:lnTo>
                    <a:lnTo>
                      <a:pt x="127" y="51"/>
                    </a:lnTo>
                    <a:lnTo>
                      <a:pt x="75" y="51"/>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4" name="Freeform 59">
                <a:extLst>
                  <a:ext uri="{FF2B5EF4-FFF2-40B4-BE49-F238E27FC236}">
                    <a16:creationId xmlns:a16="http://schemas.microsoft.com/office/drawing/2014/main" id="{77DF915A-CB52-4C1B-912B-0B0794A72C83}"/>
                  </a:ext>
                </a:extLst>
              </p:cNvPr>
              <p:cNvSpPr>
                <a:spLocks/>
              </p:cNvSpPr>
              <p:nvPr/>
            </p:nvSpPr>
            <p:spPr bwMode="gray">
              <a:xfrm>
                <a:off x="4425" y="1811"/>
                <a:ext cx="131" cy="170"/>
              </a:xfrm>
              <a:custGeom>
                <a:avLst/>
                <a:gdLst>
                  <a:gd name="T0" fmla="*/ 213 w 261"/>
                  <a:gd name="T1" fmla="*/ 0 h 340"/>
                  <a:gd name="T2" fmla="*/ 184 w 261"/>
                  <a:gd name="T3" fmla="*/ 132 h 340"/>
                  <a:gd name="T4" fmla="*/ 184 w 261"/>
                  <a:gd name="T5" fmla="*/ 155 h 340"/>
                  <a:gd name="T6" fmla="*/ 104 w 261"/>
                  <a:gd name="T7" fmla="*/ 236 h 340"/>
                  <a:gd name="T8" fmla="*/ 104 w 261"/>
                  <a:gd name="T9" fmla="*/ 263 h 340"/>
                  <a:gd name="T10" fmla="*/ 29 w 261"/>
                  <a:gd name="T11" fmla="*/ 288 h 340"/>
                  <a:gd name="T12" fmla="*/ 0 w 261"/>
                  <a:gd name="T13" fmla="*/ 315 h 340"/>
                  <a:gd name="T14" fmla="*/ 29 w 261"/>
                  <a:gd name="T15" fmla="*/ 340 h 340"/>
                  <a:gd name="T16" fmla="*/ 56 w 261"/>
                  <a:gd name="T17" fmla="*/ 315 h 340"/>
                  <a:gd name="T18" fmla="*/ 81 w 261"/>
                  <a:gd name="T19" fmla="*/ 315 h 340"/>
                  <a:gd name="T20" fmla="*/ 104 w 261"/>
                  <a:gd name="T21" fmla="*/ 315 h 340"/>
                  <a:gd name="T22" fmla="*/ 133 w 261"/>
                  <a:gd name="T23" fmla="*/ 340 h 340"/>
                  <a:gd name="T24" fmla="*/ 156 w 261"/>
                  <a:gd name="T25" fmla="*/ 340 h 340"/>
                  <a:gd name="T26" fmla="*/ 156 w 261"/>
                  <a:gd name="T27" fmla="*/ 315 h 340"/>
                  <a:gd name="T28" fmla="*/ 184 w 261"/>
                  <a:gd name="T29" fmla="*/ 315 h 340"/>
                  <a:gd name="T30" fmla="*/ 184 w 261"/>
                  <a:gd name="T31" fmla="*/ 288 h 340"/>
                  <a:gd name="T32" fmla="*/ 236 w 261"/>
                  <a:gd name="T33" fmla="*/ 288 h 340"/>
                  <a:gd name="T34" fmla="*/ 236 w 261"/>
                  <a:gd name="T35" fmla="*/ 263 h 340"/>
                  <a:gd name="T36" fmla="*/ 261 w 261"/>
                  <a:gd name="T37" fmla="*/ 288 h 340"/>
                  <a:gd name="T38" fmla="*/ 261 w 261"/>
                  <a:gd name="T39" fmla="*/ 207 h 340"/>
                  <a:gd name="T40" fmla="*/ 236 w 261"/>
                  <a:gd name="T41" fmla="*/ 155 h 340"/>
                  <a:gd name="T42" fmla="*/ 261 w 261"/>
                  <a:gd name="T43" fmla="*/ 132 h 340"/>
                  <a:gd name="T44" fmla="*/ 261 w 261"/>
                  <a:gd name="T45" fmla="*/ 107 h 340"/>
                  <a:gd name="T46" fmla="*/ 261 w 261"/>
                  <a:gd name="T47" fmla="*/ 79 h 340"/>
                  <a:gd name="T48" fmla="*/ 236 w 261"/>
                  <a:gd name="T49" fmla="*/ 27 h 340"/>
                  <a:gd name="T50" fmla="*/ 213 w 261"/>
                  <a:gd name="T5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340">
                    <a:moveTo>
                      <a:pt x="213" y="0"/>
                    </a:moveTo>
                    <a:lnTo>
                      <a:pt x="184" y="132"/>
                    </a:lnTo>
                    <a:lnTo>
                      <a:pt x="184" y="155"/>
                    </a:lnTo>
                    <a:lnTo>
                      <a:pt x="104" y="236"/>
                    </a:lnTo>
                    <a:lnTo>
                      <a:pt x="104" y="263"/>
                    </a:lnTo>
                    <a:lnTo>
                      <a:pt x="29" y="288"/>
                    </a:lnTo>
                    <a:lnTo>
                      <a:pt x="0" y="315"/>
                    </a:lnTo>
                    <a:lnTo>
                      <a:pt x="29" y="340"/>
                    </a:lnTo>
                    <a:lnTo>
                      <a:pt x="56" y="315"/>
                    </a:lnTo>
                    <a:lnTo>
                      <a:pt x="81" y="315"/>
                    </a:lnTo>
                    <a:lnTo>
                      <a:pt x="104" y="315"/>
                    </a:lnTo>
                    <a:lnTo>
                      <a:pt x="133" y="340"/>
                    </a:lnTo>
                    <a:lnTo>
                      <a:pt x="156" y="340"/>
                    </a:lnTo>
                    <a:lnTo>
                      <a:pt x="156" y="315"/>
                    </a:lnTo>
                    <a:lnTo>
                      <a:pt x="184" y="315"/>
                    </a:lnTo>
                    <a:lnTo>
                      <a:pt x="184" y="288"/>
                    </a:lnTo>
                    <a:lnTo>
                      <a:pt x="236" y="288"/>
                    </a:lnTo>
                    <a:lnTo>
                      <a:pt x="236" y="263"/>
                    </a:lnTo>
                    <a:lnTo>
                      <a:pt x="261" y="288"/>
                    </a:lnTo>
                    <a:lnTo>
                      <a:pt x="261" y="207"/>
                    </a:lnTo>
                    <a:lnTo>
                      <a:pt x="236" y="155"/>
                    </a:lnTo>
                    <a:lnTo>
                      <a:pt x="261" y="132"/>
                    </a:lnTo>
                    <a:lnTo>
                      <a:pt x="261" y="107"/>
                    </a:lnTo>
                    <a:lnTo>
                      <a:pt x="261" y="79"/>
                    </a:lnTo>
                    <a:lnTo>
                      <a:pt x="236" y="27"/>
                    </a:lnTo>
                    <a:lnTo>
                      <a:pt x="213"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5" name="Freeform 60">
                <a:extLst>
                  <a:ext uri="{FF2B5EF4-FFF2-40B4-BE49-F238E27FC236}">
                    <a16:creationId xmlns:a16="http://schemas.microsoft.com/office/drawing/2014/main" id="{DF99AD50-4EB2-4EE3-B730-CEF5BF412777}"/>
                  </a:ext>
                </a:extLst>
              </p:cNvPr>
              <p:cNvSpPr>
                <a:spLocks/>
              </p:cNvSpPr>
              <p:nvPr/>
            </p:nvSpPr>
            <p:spPr bwMode="gray">
              <a:xfrm>
                <a:off x="4414" y="1992"/>
                <a:ext cx="25" cy="55"/>
              </a:xfrm>
              <a:custGeom>
                <a:avLst/>
                <a:gdLst>
                  <a:gd name="T0" fmla="*/ 52 w 52"/>
                  <a:gd name="T1" fmla="*/ 80 h 109"/>
                  <a:gd name="T2" fmla="*/ 52 w 52"/>
                  <a:gd name="T3" fmla="*/ 57 h 109"/>
                  <a:gd name="T4" fmla="*/ 52 w 52"/>
                  <a:gd name="T5" fmla="*/ 28 h 109"/>
                  <a:gd name="T6" fmla="*/ 23 w 52"/>
                  <a:gd name="T7" fmla="*/ 0 h 109"/>
                  <a:gd name="T8" fmla="*/ 0 w 52"/>
                  <a:gd name="T9" fmla="*/ 28 h 109"/>
                  <a:gd name="T10" fmla="*/ 0 w 52"/>
                  <a:gd name="T11" fmla="*/ 80 h 109"/>
                  <a:gd name="T12" fmla="*/ 23 w 52"/>
                  <a:gd name="T13" fmla="*/ 109 h 109"/>
                  <a:gd name="T14" fmla="*/ 52 w 52"/>
                  <a:gd name="T15" fmla="*/ 8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09">
                    <a:moveTo>
                      <a:pt x="52" y="80"/>
                    </a:moveTo>
                    <a:lnTo>
                      <a:pt x="52" y="57"/>
                    </a:lnTo>
                    <a:lnTo>
                      <a:pt x="52" y="28"/>
                    </a:lnTo>
                    <a:lnTo>
                      <a:pt x="23" y="0"/>
                    </a:lnTo>
                    <a:lnTo>
                      <a:pt x="0" y="28"/>
                    </a:lnTo>
                    <a:lnTo>
                      <a:pt x="0" y="80"/>
                    </a:lnTo>
                    <a:lnTo>
                      <a:pt x="23" y="109"/>
                    </a:lnTo>
                    <a:lnTo>
                      <a:pt x="52" y="8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6" name="Freeform 61">
                <a:extLst>
                  <a:ext uri="{FF2B5EF4-FFF2-40B4-BE49-F238E27FC236}">
                    <a16:creationId xmlns:a16="http://schemas.microsoft.com/office/drawing/2014/main" id="{F1AEFB00-1FCF-4751-85C5-0C08A6C3559B}"/>
                  </a:ext>
                </a:extLst>
              </p:cNvPr>
              <p:cNvSpPr>
                <a:spLocks/>
              </p:cNvSpPr>
              <p:nvPr/>
            </p:nvSpPr>
            <p:spPr bwMode="gray">
              <a:xfrm>
                <a:off x="4283" y="2136"/>
                <a:ext cx="26" cy="53"/>
              </a:xfrm>
              <a:custGeom>
                <a:avLst/>
                <a:gdLst>
                  <a:gd name="T0" fmla="*/ 0 w 52"/>
                  <a:gd name="T1" fmla="*/ 24 h 105"/>
                  <a:gd name="T2" fmla="*/ 0 w 52"/>
                  <a:gd name="T3" fmla="*/ 51 h 105"/>
                  <a:gd name="T4" fmla="*/ 25 w 52"/>
                  <a:gd name="T5" fmla="*/ 80 h 105"/>
                  <a:gd name="T6" fmla="*/ 25 w 52"/>
                  <a:gd name="T7" fmla="*/ 105 h 105"/>
                  <a:gd name="T8" fmla="*/ 52 w 52"/>
                  <a:gd name="T9" fmla="*/ 80 h 105"/>
                  <a:gd name="T10" fmla="*/ 52 w 52"/>
                  <a:gd name="T11" fmla="*/ 51 h 105"/>
                  <a:gd name="T12" fmla="*/ 25 w 52"/>
                  <a:gd name="T13" fmla="*/ 0 h 105"/>
                  <a:gd name="T14" fmla="*/ 0 w 52"/>
                  <a:gd name="T15" fmla="*/ 24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05">
                    <a:moveTo>
                      <a:pt x="0" y="24"/>
                    </a:moveTo>
                    <a:lnTo>
                      <a:pt x="0" y="51"/>
                    </a:lnTo>
                    <a:lnTo>
                      <a:pt x="25" y="80"/>
                    </a:lnTo>
                    <a:lnTo>
                      <a:pt x="25" y="105"/>
                    </a:lnTo>
                    <a:lnTo>
                      <a:pt x="52" y="80"/>
                    </a:lnTo>
                    <a:lnTo>
                      <a:pt x="52" y="51"/>
                    </a:lnTo>
                    <a:lnTo>
                      <a:pt x="25" y="0"/>
                    </a:lnTo>
                    <a:lnTo>
                      <a:pt x="0" y="24"/>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7" name="Freeform 62">
                <a:extLst>
                  <a:ext uri="{FF2B5EF4-FFF2-40B4-BE49-F238E27FC236}">
                    <a16:creationId xmlns:a16="http://schemas.microsoft.com/office/drawing/2014/main" id="{8F2EABF2-413A-4A40-AAE4-FA6CBE0936D3}"/>
                  </a:ext>
                </a:extLst>
              </p:cNvPr>
              <p:cNvSpPr>
                <a:spLocks/>
              </p:cNvSpPr>
              <p:nvPr/>
            </p:nvSpPr>
            <p:spPr bwMode="gray">
              <a:xfrm>
                <a:off x="4102" y="2267"/>
                <a:ext cx="37" cy="26"/>
              </a:xfrm>
              <a:custGeom>
                <a:avLst/>
                <a:gdLst>
                  <a:gd name="T0" fmla="*/ 75 w 75"/>
                  <a:gd name="T1" fmla="*/ 0 h 51"/>
                  <a:gd name="T2" fmla="*/ 23 w 75"/>
                  <a:gd name="T3" fmla="*/ 0 h 51"/>
                  <a:gd name="T4" fmla="*/ 0 w 75"/>
                  <a:gd name="T5" fmla="*/ 26 h 51"/>
                  <a:gd name="T6" fmla="*/ 23 w 75"/>
                  <a:gd name="T7" fmla="*/ 51 h 51"/>
                  <a:gd name="T8" fmla="*/ 75 w 75"/>
                  <a:gd name="T9" fmla="*/ 26 h 51"/>
                  <a:gd name="T10" fmla="*/ 75 w 75"/>
                  <a:gd name="T11" fmla="*/ 0 h 51"/>
                </a:gdLst>
                <a:ahLst/>
                <a:cxnLst>
                  <a:cxn ang="0">
                    <a:pos x="T0" y="T1"/>
                  </a:cxn>
                  <a:cxn ang="0">
                    <a:pos x="T2" y="T3"/>
                  </a:cxn>
                  <a:cxn ang="0">
                    <a:pos x="T4" y="T5"/>
                  </a:cxn>
                  <a:cxn ang="0">
                    <a:pos x="T6" y="T7"/>
                  </a:cxn>
                  <a:cxn ang="0">
                    <a:pos x="T8" y="T9"/>
                  </a:cxn>
                  <a:cxn ang="0">
                    <a:pos x="T10" y="T11"/>
                  </a:cxn>
                </a:cxnLst>
                <a:rect l="0" t="0" r="r" b="b"/>
                <a:pathLst>
                  <a:path w="75" h="51">
                    <a:moveTo>
                      <a:pt x="75" y="0"/>
                    </a:moveTo>
                    <a:lnTo>
                      <a:pt x="23" y="0"/>
                    </a:lnTo>
                    <a:lnTo>
                      <a:pt x="0" y="26"/>
                    </a:lnTo>
                    <a:lnTo>
                      <a:pt x="23" y="51"/>
                    </a:lnTo>
                    <a:lnTo>
                      <a:pt x="75" y="26"/>
                    </a:lnTo>
                    <a:lnTo>
                      <a:pt x="75"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8" name="Freeform 63">
                <a:extLst>
                  <a:ext uri="{FF2B5EF4-FFF2-40B4-BE49-F238E27FC236}">
                    <a16:creationId xmlns:a16="http://schemas.microsoft.com/office/drawing/2014/main" id="{EF91A554-85DA-4325-BEA3-F5E12B3ED3C2}"/>
                  </a:ext>
                </a:extLst>
              </p:cNvPr>
              <p:cNvSpPr>
                <a:spLocks/>
              </p:cNvSpPr>
              <p:nvPr/>
            </p:nvSpPr>
            <p:spPr bwMode="gray">
              <a:xfrm>
                <a:off x="3671" y="2435"/>
                <a:ext cx="40" cy="53"/>
              </a:xfrm>
              <a:custGeom>
                <a:avLst/>
                <a:gdLst>
                  <a:gd name="T0" fmla="*/ 27 w 79"/>
                  <a:gd name="T1" fmla="*/ 0 h 108"/>
                  <a:gd name="T2" fmla="*/ 27 w 79"/>
                  <a:gd name="T3" fmla="*/ 27 h 108"/>
                  <a:gd name="T4" fmla="*/ 0 w 79"/>
                  <a:gd name="T5" fmla="*/ 56 h 108"/>
                  <a:gd name="T6" fmla="*/ 0 w 79"/>
                  <a:gd name="T7" fmla="*/ 79 h 108"/>
                  <a:gd name="T8" fmla="*/ 27 w 79"/>
                  <a:gd name="T9" fmla="*/ 108 h 108"/>
                  <a:gd name="T10" fmla="*/ 52 w 79"/>
                  <a:gd name="T11" fmla="*/ 108 h 108"/>
                  <a:gd name="T12" fmla="*/ 79 w 79"/>
                  <a:gd name="T13" fmla="*/ 79 h 108"/>
                  <a:gd name="T14" fmla="*/ 52 w 79"/>
                  <a:gd name="T15" fmla="*/ 56 h 108"/>
                  <a:gd name="T16" fmla="*/ 27 w 79"/>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108">
                    <a:moveTo>
                      <a:pt x="27" y="0"/>
                    </a:moveTo>
                    <a:lnTo>
                      <a:pt x="27" y="27"/>
                    </a:lnTo>
                    <a:lnTo>
                      <a:pt x="0" y="56"/>
                    </a:lnTo>
                    <a:lnTo>
                      <a:pt x="0" y="79"/>
                    </a:lnTo>
                    <a:lnTo>
                      <a:pt x="27" y="108"/>
                    </a:lnTo>
                    <a:lnTo>
                      <a:pt x="52" y="108"/>
                    </a:lnTo>
                    <a:lnTo>
                      <a:pt x="79" y="79"/>
                    </a:lnTo>
                    <a:lnTo>
                      <a:pt x="52" y="56"/>
                    </a:lnTo>
                    <a:lnTo>
                      <a:pt x="27"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89" name="Freeform 64">
                <a:extLst>
                  <a:ext uri="{FF2B5EF4-FFF2-40B4-BE49-F238E27FC236}">
                    <a16:creationId xmlns:a16="http://schemas.microsoft.com/office/drawing/2014/main" id="{F75F0083-4D23-437F-85E8-F2E44837F282}"/>
                  </a:ext>
                </a:extLst>
              </p:cNvPr>
              <p:cNvSpPr>
                <a:spLocks/>
              </p:cNvSpPr>
              <p:nvPr/>
            </p:nvSpPr>
            <p:spPr bwMode="gray">
              <a:xfrm>
                <a:off x="3073" y="1057"/>
                <a:ext cx="93" cy="92"/>
              </a:xfrm>
              <a:custGeom>
                <a:avLst/>
                <a:gdLst>
                  <a:gd name="T0" fmla="*/ 52 w 184"/>
                  <a:gd name="T1" fmla="*/ 133 h 185"/>
                  <a:gd name="T2" fmla="*/ 104 w 184"/>
                  <a:gd name="T3" fmla="*/ 185 h 185"/>
                  <a:gd name="T4" fmla="*/ 184 w 184"/>
                  <a:gd name="T5" fmla="*/ 185 h 185"/>
                  <a:gd name="T6" fmla="*/ 155 w 184"/>
                  <a:gd name="T7" fmla="*/ 158 h 185"/>
                  <a:gd name="T8" fmla="*/ 75 w 184"/>
                  <a:gd name="T9" fmla="*/ 106 h 185"/>
                  <a:gd name="T10" fmla="*/ 75 w 184"/>
                  <a:gd name="T11" fmla="*/ 52 h 185"/>
                  <a:gd name="T12" fmla="*/ 75 w 184"/>
                  <a:gd name="T13" fmla="*/ 0 h 185"/>
                  <a:gd name="T14" fmla="*/ 52 w 184"/>
                  <a:gd name="T15" fmla="*/ 0 h 185"/>
                  <a:gd name="T16" fmla="*/ 27 w 184"/>
                  <a:gd name="T17" fmla="*/ 0 h 185"/>
                  <a:gd name="T18" fmla="*/ 27 w 184"/>
                  <a:gd name="T19" fmla="*/ 29 h 185"/>
                  <a:gd name="T20" fmla="*/ 0 w 184"/>
                  <a:gd name="T21" fmla="*/ 52 h 185"/>
                  <a:gd name="T22" fmla="*/ 0 w 184"/>
                  <a:gd name="T23" fmla="*/ 81 h 185"/>
                  <a:gd name="T24" fmla="*/ 0 w 184"/>
                  <a:gd name="T25" fmla="*/ 133 h 185"/>
                  <a:gd name="T26" fmla="*/ 27 w 184"/>
                  <a:gd name="T27" fmla="*/ 133 h 185"/>
                  <a:gd name="T28" fmla="*/ 52 w 184"/>
                  <a:gd name="T29" fmla="*/ 13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4" h="185">
                    <a:moveTo>
                      <a:pt x="52" y="133"/>
                    </a:moveTo>
                    <a:lnTo>
                      <a:pt x="104" y="185"/>
                    </a:lnTo>
                    <a:lnTo>
                      <a:pt x="184" y="185"/>
                    </a:lnTo>
                    <a:lnTo>
                      <a:pt x="155" y="158"/>
                    </a:lnTo>
                    <a:lnTo>
                      <a:pt x="75" y="106"/>
                    </a:lnTo>
                    <a:lnTo>
                      <a:pt x="75" y="52"/>
                    </a:lnTo>
                    <a:lnTo>
                      <a:pt x="75" y="0"/>
                    </a:lnTo>
                    <a:lnTo>
                      <a:pt x="52" y="0"/>
                    </a:lnTo>
                    <a:lnTo>
                      <a:pt x="27" y="0"/>
                    </a:lnTo>
                    <a:lnTo>
                      <a:pt x="27" y="29"/>
                    </a:lnTo>
                    <a:lnTo>
                      <a:pt x="0" y="52"/>
                    </a:lnTo>
                    <a:lnTo>
                      <a:pt x="0" y="81"/>
                    </a:lnTo>
                    <a:lnTo>
                      <a:pt x="0" y="133"/>
                    </a:lnTo>
                    <a:lnTo>
                      <a:pt x="27" y="133"/>
                    </a:lnTo>
                    <a:lnTo>
                      <a:pt x="52" y="13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0" name="Freeform 65">
                <a:extLst>
                  <a:ext uri="{FF2B5EF4-FFF2-40B4-BE49-F238E27FC236}">
                    <a16:creationId xmlns:a16="http://schemas.microsoft.com/office/drawing/2014/main" id="{780C8BF2-908F-42D7-9135-4EBD33F13983}"/>
                  </a:ext>
                </a:extLst>
              </p:cNvPr>
              <p:cNvSpPr>
                <a:spLocks/>
              </p:cNvSpPr>
              <p:nvPr/>
            </p:nvSpPr>
            <p:spPr bwMode="gray">
              <a:xfrm>
                <a:off x="3087" y="889"/>
                <a:ext cx="130" cy="156"/>
              </a:xfrm>
              <a:custGeom>
                <a:avLst/>
                <a:gdLst>
                  <a:gd name="T0" fmla="*/ 25 w 261"/>
                  <a:gd name="T1" fmla="*/ 312 h 312"/>
                  <a:gd name="T2" fmla="*/ 48 w 261"/>
                  <a:gd name="T3" fmla="*/ 312 h 312"/>
                  <a:gd name="T4" fmla="*/ 77 w 261"/>
                  <a:gd name="T5" fmla="*/ 232 h 312"/>
                  <a:gd name="T6" fmla="*/ 105 w 261"/>
                  <a:gd name="T7" fmla="*/ 232 h 312"/>
                  <a:gd name="T8" fmla="*/ 128 w 261"/>
                  <a:gd name="T9" fmla="*/ 209 h 312"/>
                  <a:gd name="T10" fmla="*/ 157 w 261"/>
                  <a:gd name="T11" fmla="*/ 157 h 312"/>
                  <a:gd name="T12" fmla="*/ 232 w 261"/>
                  <a:gd name="T13" fmla="*/ 105 h 312"/>
                  <a:gd name="T14" fmla="*/ 261 w 261"/>
                  <a:gd name="T15" fmla="*/ 51 h 312"/>
                  <a:gd name="T16" fmla="*/ 232 w 261"/>
                  <a:gd name="T17" fmla="*/ 24 h 312"/>
                  <a:gd name="T18" fmla="*/ 232 w 261"/>
                  <a:gd name="T19" fmla="*/ 0 h 312"/>
                  <a:gd name="T20" fmla="*/ 209 w 261"/>
                  <a:gd name="T21" fmla="*/ 24 h 312"/>
                  <a:gd name="T22" fmla="*/ 180 w 261"/>
                  <a:gd name="T23" fmla="*/ 24 h 312"/>
                  <a:gd name="T24" fmla="*/ 128 w 261"/>
                  <a:gd name="T25" fmla="*/ 76 h 312"/>
                  <a:gd name="T26" fmla="*/ 77 w 261"/>
                  <a:gd name="T27" fmla="*/ 105 h 312"/>
                  <a:gd name="T28" fmla="*/ 77 w 261"/>
                  <a:gd name="T29" fmla="*/ 157 h 312"/>
                  <a:gd name="T30" fmla="*/ 77 w 261"/>
                  <a:gd name="T31" fmla="*/ 180 h 312"/>
                  <a:gd name="T32" fmla="*/ 48 w 261"/>
                  <a:gd name="T33" fmla="*/ 180 h 312"/>
                  <a:gd name="T34" fmla="*/ 0 w 261"/>
                  <a:gd name="T35" fmla="*/ 180 h 312"/>
                  <a:gd name="T36" fmla="*/ 0 w 261"/>
                  <a:gd name="T37" fmla="*/ 209 h 312"/>
                  <a:gd name="T38" fmla="*/ 25 w 261"/>
                  <a:gd name="T39" fmla="*/ 209 h 312"/>
                  <a:gd name="T40" fmla="*/ 0 w 261"/>
                  <a:gd name="T41" fmla="*/ 261 h 312"/>
                  <a:gd name="T42" fmla="*/ 25 w 261"/>
                  <a:gd name="T43" fmla="*/ 284 h 312"/>
                  <a:gd name="T44" fmla="*/ 0 w 261"/>
                  <a:gd name="T45" fmla="*/ 312 h 312"/>
                  <a:gd name="T46" fmla="*/ 25 w 261"/>
                  <a:gd name="T4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 h="312">
                    <a:moveTo>
                      <a:pt x="25" y="312"/>
                    </a:moveTo>
                    <a:lnTo>
                      <a:pt x="48" y="312"/>
                    </a:lnTo>
                    <a:lnTo>
                      <a:pt x="77" y="232"/>
                    </a:lnTo>
                    <a:lnTo>
                      <a:pt x="105" y="232"/>
                    </a:lnTo>
                    <a:lnTo>
                      <a:pt x="128" y="209"/>
                    </a:lnTo>
                    <a:lnTo>
                      <a:pt x="157" y="157"/>
                    </a:lnTo>
                    <a:lnTo>
                      <a:pt x="232" y="105"/>
                    </a:lnTo>
                    <a:lnTo>
                      <a:pt x="261" y="51"/>
                    </a:lnTo>
                    <a:lnTo>
                      <a:pt x="232" y="24"/>
                    </a:lnTo>
                    <a:lnTo>
                      <a:pt x="232" y="0"/>
                    </a:lnTo>
                    <a:lnTo>
                      <a:pt x="209" y="24"/>
                    </a:lnTo>
                    <a:lnTo>
                      <a:pt x="180" y="24"/>
                    </a:lnTo>
                    <a:lnTo>
                      <a:pt x="128" y="76"/>
                    </a:lnTo>
                    <a:lnTo>
                      <a:pt x="77" y="105"/>
                    </a:lnTo>
                    <a:lnTo>
                      <a:pt x="77" y="157"/>
                    </a:lnTo>
                    <a:lnTo>
                      <a:pt x="77" y="180"/>
                    </a:lnTo>
                    <a:lnTo>
                      <a:pt x="48" y="180"/>
                    </a:lnTo>
                    <a:lnTo>
                      <a:pt x="0" y="180"/>
                    </a:lnTo>
                    <a:lnTo>
                      <a:pt x="0" y="209"/>
                    </a:lnTo>
                    <a:lnTo>
                      <a:pt x="25" y="209"/>
                    </a:lnTo>
                    <a:lnTo>
                      <a:pt x="0" y="261"/>
                    </a:lnTo>
                    <a:lnTo>
                      <a:pt x="25" y="284"/>
                    </a:lnTo>
                    <a:lnTo>
                      <a:pt x="0" y="312"/>
                    </a:lnTo>
                    <a:lnTo>
                      <a:pt x="25" y="31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1" name="Freeform 66">
                <a:extLst>
                  <a:ext uri="{FF2B5EF4-FFF2-40B4-BE49-F238E27FC236}">
                    <a16:creationId xmlns:a16="http://schemas.microsoft.com/office/drawing/2014/main" id="{1AB830CE-8A35-4702-B380-B6047C856EA4}"/>
                  </a:ext>
                </a:extLst>
              </p:cNvPr>
              <p:cNvSpPr>
                <a:spLocks/>
              </p:cNvSpPr>
              <p:nvPr/>
            </p:nvSpPr>
            <p:spPr bwMode="gray">
              <a:xfrm>
                <a:off x="3360" y="641"/>
                <a:ext cx="51" cy="66"/>
              </a:xfrm>
              <a:custGeom>
                <a:avLst/>
                <a:gdLst>
                  <a:gd name="T0" fmla="*/ 79 w 104"/>
                  <a:gd name="T1" fmla="*/ 133 h 133"/>
                  <a:gd name="T2" fmla="*/ 79 w 104"/>
                  <a:gd name="T3" fmla="*/ 104 h 133"/>
                  <a:gd name="T4" fmla="*/ 79 w 104"/>
                  <a:gd name="T5" fmla="*/ 81 h 133"/>
                  <a:gd name="T6" fmla="*/ 104 w 104"/>
                  <a:gd name="T7" fmla="*/ 81 h 133"/>
                  <a:gd name="T8" fmla="*/ 104 w 104"/>
                  <a:gd name="T9" fmla="*/ 52 h 133"/>
                  <a:gd name="T10" fmla="*/ 52 w 104"/>
                  <a:gd name="T11" fmla="*/ 0 h 133"/>
                  <a:gd name="T12" fmla="*/ 27 w 104"/>
                  <a:gd name="T13" fmla="*/ 29 h 133"/>
                  <a:gd name="T14" fmla="*/ 27 w 104"/>
                  <a:gd name="T15" fmla="*/ 0 h 133"/>
                  <a:gd name="T16" fmla="*/ 0 w 104"/>
                  <a:gd name="T17" fmla="*/ 52 h 133"/>
                  <a:gd name="T18" fmla="*/ 0 w 104"/>
                  <a:gd name="T19" fmla="*/ 81 h 133"/>
                  <a:gd name="T20" fmla="*/ 52 w 104"/>
                  <a:gd name="T21" fmla="*/ 104 h 133"/>
                  <a:gd name="T22" fmla="*/ 79 w 104"/>
                  <a:gd name="T2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133">
                    <a:moveTo>
                      <a:pt x="79" y="133"/>
                    </a:moveTo>
                    <a:lnTo>
                      <a:pt x="79" y="104"/>
                    </a:lnTo>
                    <a:lnTo>
                      <a:pt x="79" y="81"/>
                    </a:lnTo>
                    <a:lnTo>
                      <a:pt x="104" y="81"/>
                    </a:lnTo>
                    <a:lnTo>
                      <a:pt x="104" y="52"/>
                    </a:lnTo>
                    <a:lnTo>
                      <a:pt x="52" y="0"/>
                    </a:lnTo>
                    <a:lnTo>
                      <a:pt x="27" y="29"/>
                    </a:lnTo>
                    <a:lnTo>
                      <a:pt x="27" y="0"/>
                    </a:lnTo>
                    <a:lnTo>
                      <a:pt x="0" y="52"/>
                    </a:lnTo>
                    <a:lnTo>
                      <a:pt x="0" y="81"/>
                    </a:lnTo>
                    <a:lnTo>
                      <a:pt x="52" y="104"/>
                    </a:lnTo>
                    <a:lnTo>
                      <a:pt x="79" y="13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2" name="Freeform 67">
                <a:extLst>
                  <a:ext uri="{FF2B5EF4-FFF2-40B4-BE49-F238E27FC236}">
                    <a16:creationId xmlns:a16="http://schemas.microsoft.com/office/drawing/2014/main" id="{E76BB280-B729-4088-8F82-A11C4773BACA}"/>
                  </a:ext>
                </a:extLst>
              </p:cNvPr>
              <p:cNvSpPr>
                <a:spLocks/>
              </p:cNvSpPr>
              <p:nvPr/>
            </p:nvSpPr>
            <p:spPr bwMode="gray">
              <a:xfrm>
                <a:off x="3411" y="693"/>
                <a:ext cx="67" cy="66"/>
              </a:xfrm>
              <a:custGeom>
                <a:avLst/>
                <a:gdLst>
                  <a:gd name="T0" fmla="*/ 0 w 132"/>
                  <a:gd name="T1" fmla="*/ 52 h 132"/>
                  <a:gd name="T2" fmla="*/ 27 w 132"/>
                  <a:gd name="T3" fmla="*/ 81 h 132"/>
                  <a:gd name="T4" fmla="*/ 80 w 132"/>
                  <a:gd name="T5" fmla="*/ 104 h 132"/>
                  <a:gd name="T6" fmla="*/ 132 w 132"/>
                  <a:gd name="T7" fmla="*/ 132 h 132"/>
                  <a:gd name="T8" fmla="*/ 132 w 132"/>
                  <a:gd name="T9" fmla="*/ 104 h 132"/>
                  <a:gd name="T10" fmla="*/ 103 w 132"/>
                  <a:gd name="T11" fmla="*/ 81 h 132"/>
                  <a:gd name="T12" fmla="*/ 103 w 132"/>
                  <a:gd name="T13" fmla="*/ 29 h 132"/>
                  <a:gd name="T14" fmla="*/ 103 w 132"/>
                  <a:gd name="T15" fmla="*/ 0 h 132"/>
                  <a:gd name="T16" fmla="*/ 52 w 132"/>
                  <a:gd name="T17" fmla="*/ 0 h 132"/>
                  <a:gd name="T18" fmla="*/ 0 w 132"/>
                  <a:gd name="T19" fmla="*/ 0 h 132"/>
                  <a:gd name="T20" fmla="*/ 0 w 132"/>
                  <a:gd name="T21" fmla="*/ 5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32">
                    <a:moveTo>
                      <a:pt x="0" y="52"/>
                    </a:moveTo>
                    <a:lnTo>
                      <a:pt x="27" y="81"/>
                    </a:lnTo>
                    <a:lnTo>
                      <a:pt x="80" y="104"/>
                    </a:lnTo>
                    <a:lnTo>
                      <a:pt x="132" y="132"/>
                    </a:lnTo>
                    <a:lnTo>
                      <a:pt x="132" y="104"/>
                    </a:lnTo>
                    <a:lnTo>
                      <a:pt x="103" y="81"/>
                    </a:lnTo>
                    <a:lnTo>
                      <a:pt x="103" y="29"/>
                    </a:lnTo>
                    <a:lnTo>
                      <a:pt x="103" y="0"/>
                    </a:lnTo>
                    <a:lnTo>
                      <a:pt x="52" y="0"/>
                    </a:lnTo>
                    <a:lnTo>
                      <a:pt x="0" y="0"/>
                    </a:lnTo>
                    <a:lnTo>
                      <a:pt x="0"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3" name="Freeform 68">
                <a:extLst>
                  <a:ext uri="{FF2B5EF4-FFF2-40B4-BE49-F238E27FC236}">
                    <a16:creationId xmlns:a16="http://schemas.microsoft.com/office/drawing/2014/main" id="{5070B5C6-ACCF-4D1C-8822-8EB2CECD4418}"/>
                  </a:ext>
                </a:extLst>
              </p:cNvPr>
              <p:cNvSpPr>
                <a:spLocks/>
              </p:cNvSpPr>
              <p:nvPr/>
            </p:nvSpPr>
            <p:spPr bwMode="gray">
              <a:xfrm>
                <a:off x="3504" y="707"/>
                <a:ext cx="51" cy="78"/>
              </a:xfrm>
              <a:custGeom>
                <a:avLst/>
                <a:gdLst>
                  <a:gd name="T0" fmla="*/ 23 w 104"/>
                  <a:gd name="T1" fmla="*/ 103 h 155"/>
                  <a:gd name="T2" fmla="*/ 23 w 104"/>
                  <a:gd name="T3" fmla="*/ 155 h 155"/>
                  <a:gd name="T4" fmla="*/ 52 w 104"/>
                  <a:gd name="T5" fmla="*/ 126 h 155"/>
                  <a:gd name="T6" fmla="*/ 104 w 104"/>
                  <a:gd name="T7" fmla="*/ 126 h 155"/>
                  <a:gd name="T8" fmla="*/ 104 w 104"/>
                  <a:gd name="T9" fmla="*/ 103 h 155"/>
                  <a:gd name="T10" fmla="*/ 104 w 104"/>
                  <a:gd name="T11" fmla="*/ 75 h 155"/>
                  <a:gd name="T12" fmla="*/ 75 w 104"/>
                  <a:gd name="T13" fmla="*/ 52 h 155"/>
                  <a:gd name="T14" fmla="*/ 52 w 104"/>
                  <a:gd name="T15" fmla="*/ 23 h 155"/>
                  <a:gd name="T16" fmla="*/ 52 w 104"/>
                  <a:gd name="T17" fmla="*/ 0 h 155"/>
                  <a:gd name="T18" fmla="*/ 23 w 104"/>
                  <a:gd name="T19" fmla="*/ 23 h 155"/>
                  <a:gd name="T20" fmla="*/ 0 w 104"/>
                  <a:gd name="T21" fmla="*/ 23 h 155"/>
                  <a:gd name="T22" fmla="*/ 0 w 104"/>
                  <a:gd name="T23" fmla="*/ 52 h 155"/>
                  <a:gd name="T24" fmla="*/ 23 w 104"/>
                  <a:gd name="T25" fmla="*/ 75 h 155"/>
                  <a:gd name="T26" fmla="*/ 23 w 104"/>
                  <a:gd name="T27" fmla="*/ 10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55">
                    <a:moveTo>
                      <a:pt x="23" y="103"/>
                    </a:moveTo>
                    <a:lnTo>
                      <a:pt x="23" y="155"/>
                    </a:lnTo>
                    <a:lnTo>
                      <a:pt x="52" y="126"/>
                    </a:lnTo>
                    <a:lnTo>
                      <a:pt x="104" y="126"/>
                    </a:lnTo>
                    <a:lnTo>
                      <a:pt x="104" y="103"/>
                    </a:lnTo>
                    <a:lnTo>
                      <a:pt x="104" y="75"/>
                    </a:lnTo>
                    <a:lnTo>
                      <a:pt x="75" y="52"/>
                    </a:lnTo>
                    <a:lnTo>
                      <a:pt x="52" y="23"/>
                    </a:lnTo>
                    <a:lnTo>
                      <a:pt x="52" y="0"/>
                    </a:lnTo>
                    <a:lnTo>
                      <a:pt x="23" y="23"/>
                    </a:lnTo>
                    <a:lnTo>
                      <a:pt x="0" y="23"/>
                    </a:lnTo>
                    <a:lnTo>
                      <a:pt x="0" y="52"/>
                    </a:lnTo>
                    <a:lnTo>
                      <a:pt x="23" y="75"/>
                    </a:lnTo>
                    <a:lnTo>
                      <a:pt x="23" y="10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4" name="Freeform 69">
                <a:extLst>
                  <a:ext uri="{FF2B5EF4-FFF2-40B4-BE49-F238E27FC236}">
                    <a16:creationId xmlns:a16="http://schemas.microsoft.com/office/drawing/2014/main" id="{71B94066-0F0C-4D25-9359-925B1442BC53}"/>
                  </a:ext>
                </a:extLst>
              </p:cNvPr>
              <p:cNvSpPr>
                <a:spLocks/>
              </p:cNvSpPr>
              <p:nvPr/>
            </p:nvSpPr>
            <p:spPr bwMode="gray">
              <a:xfrm>
                <a:off x="3360" y="707"/>
                <a:ext cx="39" cy="26"/>
              </a:xfrm>
              <a:custGeom>
                <a:avLst/>
                <a:gdLst>
                  <a:gd name="T0" fmla="*/ 79 w 79"/>
                  <a:gd name="T1" fmla="*/ 23 h 52"/>
                  <a:gd name="T2" fmla="*/ 52 w 79"/>
                  <a:gd name="T3" fmla="*/ 0 h 52"/>
                  <a:gd name="T4" fmla="*/ 0 w 79"/>
                  <a:gd name="T5" fmla="*/ 23 h 52"/>
                  <a:gd name="T6" fmla="*/ 52 w 79"/>
                  <a:gd name="T7" fmla="*/ 52 h 52"/>
                  <a:gd name="T8" fmla="*/ 79 w 79"/>
                  <a:gd name="T9" fmla="*/ 23 h 52"/>
                </a:gdLst>
                <a:ahLst/>
                <a:cxnLst>
                  <a:cxn ang="0">
                    <a:pos x="T0" y="T1"/>
                  </a:cxn>
                  <a:cxn ang="0">
                    <a:pos x="T2" y="T3"/>
                  </a:cxn>
                  <a:cxn ang="0">
                    <a:pos x="T4" y="T5"/>
                  </a:cxn>
                  <a:cxn ang="0">
                    <a:pos x="T6" y="T7"/>
                  </a:cxn>
                  <a:cxn ang="0">
                    <a:pos x="T8" y="T9"/>
                  </a:cxn>
                </a:cxnLst>
                <a:rect l="0" t="0" r="r" b="b"/>
                <a:pathLst>
                  <a:path w="79" h="52">
                    <a:moveTo>
                      <a:pt x="79" y="23"/>
                    </a:moveTo>
                    <a:lnTo>
                      <a:pt x="52" y="0"/>
                    </a:lnTo>
                    <a:lnTo>
                      <a:pt x="0" y="23"/>
                    </a:lnTo>
                    <a:lnTo>
                      <a:pt x="52" y="52"/>
                    </a:lnTo>
                    <a:lnTo>
                      <a:pt x="79" y="2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5" name="Freeform 70">
                <a:extLst>
                  <a:ext uri="{FF2B5EF4-FFF2-40B4-BE49-F238E27FC236}">
                    <a16:creationId xmlns:a16="http://schemas.microsoft.com/office/drawing/2014/main" id="{84226DBB-EE92-4382-A475-52DB6B65DBF8}"/>
                  </a:ext>
                </a:extLst>
              </p:cNvPr>
              <p:cNvSpPr>
                <a:spLocks/>
              </p:cNvSpPr>
              <p:nvPr/>
            </p:nvSpPr>
            <p:spPr bwMode="gray">
              <a:xfrm>
                <a:off x="3983" y="733"/>
                <a:ext cx="93" cy="65"/>
              </a:xfrm>
              <a:custGeom>
                <a:avLst/>
                <a:gdLst>
                  <a:gd name="T0" fmla="*/ 27 w 184"/>
                  <a:gd name="T1" fmla="*/ 103 h 128"/>
                  <a:gd name="T2" fmla="*/ 52 w 184"/>
                  <a:gd name="T3" fmla="*/ 128 h 128"/>
                  <a:gd name="T4" fmla="*/ 79 w 184"/>
                  <a:gd name="T5" fmla="*/ 128 h 128"/>
                  <a:gd name="T6" fmla="*/ 79 w 184"/>
                  <a:gd name="T7" fmla="*/ 103 h 128"/>
                  <a:gd name="T8" fmla="*/ 131 w 184"/>
                  <a:gd name="T9" fmla="*/ 103 h 128"/>
                  <a:gd name="T10" fmla="*/ 155 w 184"/>
                  <a:gd name="T11" fmla="*/ 74 h 128"/>
                  <a:gd name="T12" fmla="*/ 104 w 184"/>
                  <a:gd name="T13" fmla="*/ 51 h 128"/>
                  <a:gd name="T14" fmla="*/ 104 w 184"/>
                  <a:gd name="T15" fmla="*/ 23 h 128"/>
                  <a:gd name="T16" fmla="*/ 155 w 184"/>
                  <a:gd name="T17" fmla="*/ 74 h 128"/>
                  <a:gd name="T18" fmla="*/ 184 w 184"/>
                  <a:gd name="T19" fmla="*/ 51 h 128"/>
                  <a:gd name="T20" fmla="*/ 184 w 184"/>
                  <a:gd name="T21" fmla="*/ 23 h 128"/>
                  <a:gd name="T22" fmla="*/ 131 w 184"/>
                  <a:gd name="T23" fmla="*/ 0 h 128"/>
                  <a:gd name="T24" fmla="*/ 104 w 184"/>
                  <a:gd name="T25" fmla="*/ 0 h 128"/>
                  <a:gd name="T26" fmla="*/ 79 w 184"/>
                  <a:gd name="T27" fmla="*/ 0 h 128"/>
                  <a:gd name="T28" fmla="*/ 52 w 184"/>
                  <a:gd name="T29" fmla="*/ 23 h 128"/>
                  <a:gd name="T30" fmla="*/ 52 w 184"/>
                  <a:gd name="T31" fmla="*/ 0 h 128"/>
                  <a:gd name="T32" fmla="*/ 27 w 184"/>
                  <a:gd name="T33" fmla="*/ 0 h 128"/>
                  <a:gd name="T34" fmla="*/ 0 w 184"/>
                  <a:gd name="T35" fmla="*/ 51 h 128"/>
                  <a:gd name="T36" fmla="*/ 27 w 184"/>
                  <a:gd name="T37" fmla="*/ 74 h 128"/>
                  <a:gd name="T38" fmla="*/ 27 w 184"/>
                  <a:gd name="T39" fmla="*/ 10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4" h="128">
                    <a:moveTo>
                      <a:pt x="27" y="103"/>
                    </a:moveTo>
                    <a:lnTo>
                      <a:pt x="52" y="128"/>
                    </a:lnTo>
                    <a:lnTo>
                      <a:pt x="79" y="128"/>
                    </a:lnTo>
                    <a:lnTo>
                      <a:pt x="79" y="103"/>
                    </a:lnTo>
                    <a:lnTo>
                      <a:pt x="131" y="103"/>
                    </a:lnTo>
                    <a:lnTo>
                      <a:pt x="155" y="74"/>
                    </a:lnTo>
                    <a:lnTo>
                      <a:pt x="104" y="51"/>
                    </a:lnTo>
                    <a:lnTo>
                      <a:pt x="104" y="23"/>
                    </a:lnTo>
                    <a:lnTo>
                      <a:pt x="155" y="74"/>
                    </a:lnTo>
                    <a:lnTo>
                      <a:pt x="184" y="51"/>
                    </a:lnTo>
                    <a:lnTo>
                      <a:pt x="184" y="23"/>
                    </a:lnTo>
                    <a:lnTo>
                      <a:pt x="131" y="0"/>
                    </a:lnTo>
                    <a:lnTo>
                      <a:pt x="104" y="0"/>
                    </a:lnTo>
                    <a:lnTo>
                      <a:pt x="79" y="0"/>
                    </a:lnTo>
                    <a:lnTo>
                      <a:pt x="52" y="23"/>
                    </a:lnTo>
                    <a:lnTo>
                      <a:pt x="52" y="0"/>
                    </a:lnTo>
                    <a:lnTo>
                      <a:pt x="27" y="0"/>
                    </a:lnTo>
                    <a:lnTo>
                      <a:pt x="0" y="51"/>
                    </a:lnTo>
                    <a:lnTo>
                      <a:pt x="27" y="74"/>
                    </a:lnTo>
                    <a:lnTo>
                      <a:pt x="27" y="103"/>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6" name="Freeform 71">
                <a:extLst>
                  <a:ext uri="{FF2B5EF4-FFF2-40B4-BE49-F238E27FC236}">
                    <a16:creationId xmlns:a16="http://schemas.microsoft.com/office/drawing/2014/main" id="{13A86FDB-C28F-4256-9382-1ECCA55D52A0}"/>
                  </a:ext>
                </a:extLst>
              </p:cNvPr>
              <p:cNvSpPr>
                <a:spLocks/>
              </p:cNvSpPr>
              <p:nvPr/>
            </p:nvSpPr>
            <p:spPr bwMode="gray">
              <a:xfrm>
                <a:off x="4700" y="875"/>
                <a:ext cx="48" cy="10"/>
              </a:xfrm>
              <a:custGeom>
                <a:avLst/>
                <a:gdLst>
                  <a:gd name="T0" fmla="*/ 79 w 96"/>
                  <a:gd name="T1" fmla="*/ 0 h 19"/>
                  <a:gd name="T2" fmla="*/ 0 w 96"/>
                  <a:gd name="T3" fmla="*/ 0 h 19"/>
                  <a:gd name="T4" fmla="*/ 96 w 96"/>
                  <a:gd name="T5" fmla="*/ 19 h 19"/>
                  <a:gd name="T6" fmla="*/ 79 w 96"/>
                  <a:gd name="T7" fmla="*/ 0 h 19"/>
                </a:gdLst>
                <a:ahLst/>
                <a:cxnLst>
                  <a:cxn ang="0">
                    <a:pos x="T0" y="T1"/>
                  </a:cxn>
                  <a:cxn ang="0">
                    <a:pos x="T2" y="T3"/>
                  </a:cxn>
                  <a:cxn ang="0">
                    <a:pos x="T4" y="T5"/>
                  </a:cxn>
                  <a:cxn ang="0">
                    <a:pos x="T6" y="T7"/>
                  </a:cxn>
                </a:cxnLst>
                <a:rect l="0" t="0" r="r" b="b"/>
                <a:pathLst>
                  <a:path w="96" h="19">
                    <a:moveTo>
                      <a:pt x="79" y="0"/>
                    </a:moveTo>
                    <a:lnTo>
                      <a:pt x="0" y="0"/>
                    </a:lnTo>
                    <a:lnTo>
                      <a:pt x="96" y="19"/>
                    </a:lnTo>
                    <a:lnTo>
                      <a:pt x="79"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7" name="Freeform 72">
                <a:extLst>
                  <a:ext uri="{FF2B5EF4-FFF2-40B4-BE49-F238E27FC236}">
                    <a16:creationId xmlns:a16="http://schemas.microsoft.com/office/drawing/2014/main" id="{BF5C500C-BEA0-4776-83A8-C16F786562C1}"/>
                  </a:ext>
                </a:extLst>
              </p:cNvPr>
              <p:cNvSpPr>
                <a:spLocks/>
              </p:cNvSpPr>
              <p:nvPr/>
            </p:nvSpPr>
            <p:spPr bwMode="gray">
              <a:xfrm>
                <a:off x="3932" y="2540"/>
                <a:ext cx="155" cy="168"/>
              </a:xfrm>
              <a:custGeom>
                <a:avLst/>
                <a:gdLst>
                  <a:gd name="T0" fmla="*/ 311 w 311"/>
                  <a:gd name="T1" fmla="*/ 312 h 335"/>
                  <a:gd name="T2" fmla="*/ 311 w 311"/>
                  <a:gd name="T3" fmla="*/ 284 h 335"/>
                  <a:gd name="T4" fmla="*/ 288 w 311"/>
                  <a:gd name="T5" fmla="*/ 261 h 335"/>
                  <a:gd name="T6" fmla="*/ 288 w 311"/>
                  <a:gd name="T7" fmla="*/ 232 h 335"/>
                  <a:gd name="T8" fmla="*/ 259 w 311"/>
                  <a:gd name="T9" fmla="*/ 209 h 335"/>
                  <a:gd name="T10" fmla="*/ 235 w 311"/>
                  <a:gd name="T11" fmla="*/ 180 h 335"/>
                  <a:gd name="T12" fmla="*/ 208 w 311"/>
                  <a:gd name="T13" fmla="*/ 155 h 335"/>
                  <a:gd name="T14" fmla="*/ 183 w 311"/>
                  <a:gd name="T15" fmla="*/ 155 h 335"/>
                  <a:gd name="T16" fmla="*/ 183 w 311"/>
                  <a:gd name="T17" fmla="*/ 128 h 335"/>
                  <a:gd name="T18" fmla="*/ 156 w 311"/>
                  <a:gd name="T19" fmla="*/ 103 h 335"/>
                  <a:gd name="T20" fmla="*/ 131 w 311"/>
                  <a:gd name="T21" fmla="*/ 103 h 335"/>
                  <a:gd name="T22" fmla="*/ 131 w 311"/>
                  <a:gd name="T23" fmla="*/ 51 h 335"/>
                  <a:gd name="T24" fmla="*/ 104 w 311"/>
                  <a:gd name="T25" fmla="*/ 51 h 335"/>
                  <a:gd name="T26" fmla="*/ 79 w 311"/>
                  <a:gd name="T27" fmla="*/ 24 h 335"/>
                  <a:gd name="T28" fmla="*/ 52 w 311"/>
                  <a:gd name="T29" fmla="*/ 0 h 335"/>
                  <a:gd name="T30" fmla="*/ 0 w 311"/>
                  <a:gd name="T31" fmla="*/ 24 h 335"/>
                  <a:gd name="T32" fmla="*/ 27 w 311"/>
                  <a:gd name="T33" fmla="*/ 51 h 335"/>
                  <a:gd name="T34" fmla="*/ 52 w 311"/>
                  <a:gd name="T35" fmla="*/ 76 h 335"/>
                  <a:gd name="T36" fmla="*/ 79 w 311"/>
                  <a:gd name="T37" fmla="*/ 128 h 335"/>
                  <a:gd name="T38" fmla="*/ 104 w 311"/>
                  <a:gd name="T39" fmla="*/ 155 h 335"/>
                  <a:gd name="T40" fmla="*/ 104 w 311"/>
                  <a:gd name="T41" fmla="*/ 180 h 335"/>
                  <a:gd name="T42" fmla="*/ 104 w 311"/>
                  <a:gd name="T43" fmla="*/ 232 h 335"/>
                  <a:gd name="T44" fmla="*/ 131 w 311"/>
                  <a:gd name="T45" fmla="*/ 261 h 335"/>
                  <a:gd name="T46" fmla="*/ 156 w 311"/>
                  <a:gd name="T47" fmla="*/ 284 h 335"/>
                  <a:gd name="T48" fmla="*/ 208 w 311"/>
                  <a:gd name="T49" fmla="*/ 312 h 335"/>
                  <a:gd name="T50" fmla="*/ 235 w 311"/>
                  <a:gd name="T51" fmla="*/ 335 h 335"/>
                  <a:gd name="T52" fmla="*/ 259 w 311"/>
                  <a:gd name="T53" fmla="*/ 335 h 335"/>
                  <a:gd name="T54" fmla="*/ 288 w 311"/>
                  <a:gd name="T55" fmla="*/ 335 h 335"/>
                  <a:gd name="T56" fmla="*/ 311 w 311"/>
                  <a:gd name="T57" fmla="*/ 312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1" h="335">
                    <a:moveTo>
                      <a:pt x="311" y="312"/>
                    </a:moveTo>
                    <a:lnTo>
                      <a:pt x="311" y="284"/>
                    </a:lnTo>
                    <a:lnTo>
                      <a:pt x="288" y="261"/>
                    </a:lnTo>
                    <a:lnTo>
                      <a:pt x="288" y="232"/>
                    </a:lnTo>
                    <a:lnTo>
                      <a:pt x="259" y="209"/>
                    </a:lnTo>
                    <a:lnTo>
                      <a:pt x="235" y="180"/>
                    </a:lnTo>
                    <a:lnTo>
                      <a:pt x="208" y="155"/>
                    </a:lnTo>
                    <a:lnTo>
                      <a:pt x="183" y="155"/>
                    </a:lnTo>
                    <a:lnTo>
                      <a:pt x="183" y="128"/>
                    </a:lnTo>
                    <a:lnTo>
                      <a:pt x="156" y="103"/>
                    </a:lnTo>
                    <a:lnTo>
                      <a:pt x="131" y="103"/>
                    </a:lnTo>
                    <a:lnTo>
                      <a:pt x="131" y="51"/>
                    </a:lnTo>
                    <a:lnTo>
                      <a:pt x="104" y="51"/>
                    </a:lnTo>
                    <a:lnTo>
                      <a:pt x="79" y="24"/>
                    </a:lnTo>
                    <a:lnTo>
                      <a:pt x="52" y="0"/>
                    </a:lnTo>
                    <a:lnTo>
                      <a:pt x="0" y="24"/>
                    </a:lnTo>
                    <a:lnTo>
                      <a:pt x="27" y="51"/>
                    </a:lnTo>
                    <a:lnTo>
                      <a:pt x="52" y="76"/>
                    </a:lnTo>
                    <a:lnTo>
                      <a:pt x="79" y="128"/>
                    </a:lnTo>
                    <a:lnTo>
                      <a:pt x="104" y="155"/>
                    </a:lnTo>
                    <a:lnTo>
                      <a:pt x="104" y="180"/>
                    </a:lnTo>
                    <a:lnTo>
                      <a:pt x="104" y="232"/>
                    </a:lnTo>
                    <a:lnTo>
                      <a:pt x="131" y="261"/>
                    </a:lnTo>
                    <a:lnTo>
                      <a:pt x="156" y="284"/>
                    </a:lnTo>
                    <a:lnTo>
                      <a:pt x="208" y="312"/>
                    </a:lnTo>
                    <a:lnTo>
                      <a:pt x="235" y="335"/>
                    </a:lnTo>
                    <a:lnTo>
                      <a:pt x="259" y="335"/>
                    </a:lnTo>
                    <a:lnTo>
                      <a:pt x="288" y="335"/>
                    </a:lnTo>
                    <a:lnTo>
                      <a:pt x="311" y="31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8" name="Freeform 73">
                <a:extLst>
                  <a:ext uri="{FF2B5EF4-FFF2-40B4-BE49-F238E27FC236}">
                    <a16:creationId xmlns:a16="http://schemas.microsoft.com/office/drawing/2014/main" id="{02FAD7E7-9934-4B80-96BC-8CAD3E644A97}"/>
                  </a:ext>
                </a:extLst>
              </p:cNvPr>
              <p:cNvSpPr>
                <a:spLocks/>
              </p:cNvSpPr>
              <p:nvPr/>
            </p:nvSpPr>
            <p:spPr bwMode="gray">
              <a:xfrm>
                <a:off x="3919" y="2540"/>
                <a:ext cx="13" cy="13"/>
              </a:xfrm>
              <a:custGeom>
                <a:avLst/>
                <a:gdLst>
                  <a:gd name="T0" fmla="*/ 0 w 25"/>
                  <a:gd name="T1" fmla="*/ 0 h 24"/>
                  <a:gd name="T2" fmla="*/ 25 w 25"/>
                  <a:gd name="T3" fmla="*/ 24 h 24"/>
                  <a:gd name="T4" fmla="*/ 25 w 25"/>
                  <a:gd name="T5" fmla="*/ 0 h 24"/>
                  <a:gd name="T6" fmla="*/ 0 w 25"/>
                  <a:gd name="T7" fmla="*/ 0 h 24"/>
                </a:gdLst>
                <a:ahLst/>
                <a:cxnLst>
                  <a:cxn ang="0">
                    <a:pos x="T0" y="T1"/>
                  </a:cxn>
                  <a:cxn ang="0">
                    <a:pos x="T2" y="T3"/>
                  </a:cxn>
                  <a:cxn ang="0">
                    <a:pos x="T4" y="T5"/>
                  </a:cxn>
                  <a:cxn ang="0">
                    <a:pos x="T6" y="T7"/>
                  </a:cxn>
                </a:cxnLst>
                <a:rect l="0" t="0" r="r" b="b"/>
                <a:pathLst>
                  <a:path w="25" h="24">
                    <a:moveTo>
                      <a:pt x="0" y="0"/>
                    </a:moveTo>
                    <a:lnTo>
                      <a:pt x="25" y="24"/>
                    </a:lnTo>
                    <a:lnTo>
                      <a:pt x="25" y="0"/>
                    </a:lnTo>
                    <a:lnTo>
                      <a:pt x="0"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199" name="Freeform 74">
                <a:extLst>
                  <a:ext uri="{FF2B5EF4-FFF2-40B4-BE49-F238E27FC236}">
                    <a16:creationId xmlns:a16="http://schemas.microsoft.com/office/drawing/2014/main" id="{2BD94DE7-E30A-46ED-ACFE-68B9B9382137}"/>
                  </a:ext>
                </a:extLst>
              </p:cNvPr>
              <p:cNvSpPr>
                <a:spLocks/>
              </p:cNvSpPr>
              <p:nvPr/>
            </p:nvSpPr>
            <p:spPr bwMode="gray">
              <a:xfrm>
                <a:off x="2605" y="1903"/>
                <a:ext cx="52" cy="26"/>
              </a:xfrm>
              <a:custGeom>
                <a:avLst/>
                <a:gdLst>
                  <a:gd name="T0" fmla="*/ 52 w 104"/>
                  <a:gd name="T1" fmla="*/ 0 h 52"/>
                  <a:gd name="T2" fmla="*/ 25 w 104"/>
                  <a:gd name="T3" fmla="*/ 0 h 52"/>
                  <a:gd name="T4" fmla="*/ 0 w 104"/>
                  <a:gd name="T5" fmla="*/ 23 h 52"/>
                  <a:gd name="T6" fmla="*/ 0 w 104"/>
                  <a:gd name="T7" fmla="*/ 52 h 52"/>
                  <a:gd name="T8" fmla="*/ 52 w 104"/>
                  <a:gd name="T9" fmla="*/ 52 h 52"/>
                  <a:gd name="T10" fmla="*/ 77 w 104"/>
                  <a:gd name="T11" fmla="*/ 52 h 52"/>
                  <a:gd name="T12" fmla="*/ 77 w 104"/>
                  <a:gd name="T13" fmla="*/ 23 h 52"/>
                  <a:gd name="T14" fmla="*/ 104 w 104"/>
                  <a:gd name="T15" fmla="*/ 0 h 52"/>
                  <a:gd name="T16" fmla="*/ 77 w 104"/>
                  <a:gd name="T17" fmla="*/ 0 h 52"/>
                  <a:gd name="T18" fmla="*/ 52 w 104"/>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52">
                    <a:moveTo>
                      <a:pt x="52" y="0"/>
                    </a:moveTo>
                    <a:lnTo>
                      <a:pt x="25" y="0"/>
                    </a:lnTo>
                    <a:lnTo>
                      <a:pt x="0" y="23"/>
                    </a:lnTo>
                    <a:lnTo>
                      <a:pt x="0" y="52"/>
                    </a:lnTo>
                    <a:lnTo>
                      <a:pt x="52" y="52"/>
                    </a:lnTo>
                    <a:lnTo>
                      <a:pt x="77" y="52"/>
                    </a:lnTo>
                    <a:lnTo>
                      <a:pt x="77" y="23"/>
                    </a:lnTo>
                    <a:lnTo>
                      <a:pt x="104" y="0"/>
                    </a:lnTo>
                    <a:lnTo>
                      <a:pt x="77" y="0"/>
                    </a:lnTo>
                    <a:lnTo>
                      <a:pt x="52"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0" name="Freeform 75">
                <a:extLst>
                  <a:ext uri="{FF2B5EF4-FFF2-40B4-BE49-F238E27FC236}">
                    <a16:creationId xmlns:a16="http://schemas.microsoft.com/office/drawing/2014/main" id="{BAD4E4EF-1E1C-4B0D-B30B-2C906A2B1A8A}"/>
                  </a:ext>
                </a:extLst>
              </p:cNvPr>
              <p:cNvSpPr>
                <a:spLocks/>
              </p:cNvSpPr>
              <p:nvPr/>
            </p:nvSpPr>
            <p:spPr bwMode="gray">
              <a:xfrm>
                <a:off x="2527" y="1850"/>
                <a:ext cx="39" cy="39"/>
              </a:xfrm>
              <a:custGeom>
                <a:avLst/>
                <a:gdLst>
                  <a:gd name="T0" fmla="*/ 52 w 77"/>
                  <a:gd name="T1" fmla="*/ 0 h 76"/>
                  <a:gd name="T2" fmla="*/ 25 w 77"/>
                  <a:gd name="T3" fmla="*/ 0 h 76"/>
                  <a:gd name="T4" fmla="*/ 0 w 77"/>
                  <a:gd name="T5" fmla="*/ 53 h 76"/>
                  <a:gd name="T6" fmla="*/ 0 w 77"/>
                  <a:gd name="T7" fmla="*/ 76 h 76"/>
                  <a:gd name="T8" fmla="*/ 25 w 77"/>
                  <a:gd name="T9" fmla="*/ 76 h 76"/>
                  <a:gd name="T10" fmla="*/ 52 w 77"/>
                  <a:gd name="T11" fmla="*/ 76 h 76"/>
                  <a:gd name="T12" fmla="*/ 77 w 77"/>
                  <a:gd name="T13" fmla="*/ 53 h 76"/>
                  <a:gd name="T14" fmla="*/ 52 w 77"/>
                  <a:gd name="T15" fmla="*/ 53 h 76"/>
                  <a:gd name="T16" fmla="*/ 77 w 77"/>
                  <a:gd name="T17" fmla="*/ 0 h 76"/>
                  <a:gd name="T18" fmla="*/ 52 w 77"/>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6">
                    <a:moveTo>
                      <a:pt x="52" y="0"/>
                    </a:moveTo>
                    <a:lnTo>
                      <a:pt x="25" y="0"/>
                    </a:lnTo>
                    <a:lnTo>
                      <a:pt x="0" y="53"/>
                    </a:lnTo>
                    <a:lnTo>
                      <a:pt x="0" y="76"/>
                    </a:lnTo>
                    <a:lnTo>
                      <a:pt x="25" y="76"/>
                    </a:lnTo>
                    <a:lnTo>
                      <a:pt x="52" y="76"/>
                    </a:lnTo>
                    <a:lnTo>
                      <a:pt x="77" y="53"/>
                    </a:lnTo>
                    <a:lnTo>
                      <a:pt x="52" y="53"/>
                    </a:lnTo>
                    <a:lnTo>
                      <a:pt x="77" y="0"/>
                    </a:lnTo>
                    <a:lnTo>
                      <a:pt x="52"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1" name="Freeform 76">
                <a:extLst>
                  <a:ext uri="{FF2B5EF4-FFF2-40B4-BE49-F238E27FC236}">
                    <a16:creationId xmlns:a16="http://schemas.microsoft.com/office/drawing/2014/main" id="{5C39F0CA-8D93-44BD-B907-26661E888ECD}"/>
                  </a:ext>
                </a:extLst>
              </p:cNvPr>
              <p:cNvSpPr>
                <a:spLocks/>
              </p:cNvSpPr>
              <p:nvPr/>
            </p:nvSpPr>
            <p:spPr bwMode="gray">
              <a:xfrm>
                <a:off x="2280" y="771"/>
                <a:ext cx="2653" cy="1808"/>
              </a:xfrm>
              <a:custGeom>
                <a:avLst/>
                <a:gdLst>
                  <a:gd name="T0" fmla="*/ 4712 w 5307"/>
                  <a:gd name="T1" fmla="*/ 158 h 3616"/>
                  <a:gd name="T2" fmla="*/ 4216 w 5307"/>
                  <a:gd name="T3" fmla="*/ 210 h 3616"/>
                  <a:gd name="T4" fmla="*/ 3719 w 5307"/>
                  <a:gd name="T5" fmla="*/ 288 h 3616"/>
                  <a:gd name="T6" fmla="*/ 3383 w 5307"/>
                  <a:gd name="T7" fmla="*/ 237 h 3616"/>
                  <a:gd name="T8" fmla="*/ 2888 w 5307"/>
                  <a:gd name="T9" fmla="*/ 394 h 3616"/>
                  <a:gd name="T10" fmla="*/ 2759 w 5307"/>
                  <a:gd name="T11" fmla="*/ 106 h 3616"/>
                  <a:gd name="T12" fmla="*/ 2604 w 5307"/>
                  <a:gd name="T13" fmla="*/ 158 h 3616"/>
                  <a:gd name="T14" fmla="*/ 2264 w 5307"/>
                  <a:gd name="T15" fmla="*/ 469 h 3616"/>
                  <a:gd name="T16" fmla="*/ 2187 w 5307"/>
                  <a:gd name="T17" fmla="*/ 624 h 3616"/>
                  <a:gd name="T18" fmla="*/ 2264 w 5307"/>
                  <a:gd name="T19" fmla="*/ 808 h 3616"/>
                  <a:gd name="T20" fmla="*/ 2056 w 5307"/>
                  <a:gd name="T21" fmla="*/ 572 h 3616"/>
                  <a:gd name="T22" fmla="*/ 1847 w 5307"/>
                  <a:gd name="T23" fmla="*/ 860 h 3616"/>
                  <a:gd name="T24" fmla="*/ 1484 w 5307"/>
                  <a:gd name="T25" fmla="*/ 912 h 3616"/>
                  <a:gd name="T26" fmla="*/ 1252 w 5307"/>
                  <a:gd name="T27" fmla="*/ 1121 h 3616"/>
                  <a:gd name="T28" fmla="*/ 1144 w 5307"/>
                  <a:gd name="T29" fmla="*/ 833 h 3616"/>
                  <a:gd name="T30" fmla="*/ 912 w 5307"/>
                  <a:gd name="T31" fmla="*/ 782 h 3616"/>
                  <a:gd name="T32" fmla="*/ 651 w 5307"/>
                  <a:gd name="T33" fmla="*/ 1093 h 3616"/>
                  <a:gd name="T34" fmla="*/ 495 w 5307"/>
                  <a:gd name="T35" fmla="*/ 1405 h 3616"/>
                  <a:gd name="T36" fmla="*/ 728 w 5307"/>
                  <a:gd name="T37" fmla="*/ 1561 h 3616"/>
                  <a:gd name="T38" fmla="*/ 808 w 5307"/>
                  <a:gd name="T39" fmla="*/ 1225 h 3616"/>
                  <a:gd name="T40" fmla="*/ 912 w 5307"/>
                  <a:gd name="T41" fmla="*/ 1196 h 3616"/>
                  <a:gd name="T42" fmla="*/ 1171 w 5307"/>
                  <a:gd name="T43" fmla="*/ 1354 h 3616"/>
                  <a:gd name="T44" fmla="*/ 912 w 5307"/>
                  <a:gd name="T45" fmla="*/ 1509 h 3616"/>
                  <a:gd name="T46" fmla="*/ 728 w 5307"/>
                  <a:gd name="T47" fmla="*/ 1641 h 3616"/>
                  <a:gd name="T48" fmla="*/ 572 w 5307"/>
                  <a:gd name="T49" fmla="*/ 1613 h 3616"/>
                  <a:gd name="T50" fmla="*/ 311 w 5307"/>
                  <a:gd name="T51" fmla="*/ 1797 h 3616"/>
                  <a:gd name="T52" fmla="*/ 184 w 5307"/>
                  <a:gd name="T53" fmla="*/ 2029 h 3616"/>
                  <a:gd name="T54" fmla="*/ 0 w 5307"/>
                  <a:gd name="T55" fmla="*/ 2317 h 3616"/>
                  <a:gd name="T56" fmla="*/ 392 w 5307"/>
                  <a:gd name="T57" fmla="*/ 2081 h 3616"/>
                  <a:gd name="T58" fmla="*/ 728 w 5307"/>
                  <a:gd name="T59" fmla="*/ 2160 h 3616"/>
                  <a:gd name="T60" fmla="*/ 780 w 5307"/>
                  <a:gd name="T61" fmla="*/ 2133 h 3616"/>
                  <a:gd name="T62" fmla="*/ 755 w 5307"/>
                  <a:gd name="T63" fmla="*/ 2029 h 3616"/>
                  <a:gd name="T64" fmla="*/ 987 w 5307"/>
                  <a:gd name="T65" fmla="*/ 2288 h 3616"/>
                  <a:gd name="T66" fmla="*/ 1068 w 5307"/>
                  <a:gd name="T67" fmla="*/ 2185 h 3616"/>
                  <a:gd name="T68" fmla="*/ 1223 w 5307"/>
                  <a:gd name="T69" fmla="*/ 1952 h 3616"/>
                  <a:gd name="T70" fmla="*/ 1432 w 5307"/>
                  <a:gd name="T71" fmla="*/ 1901 h 3616"/>
                  <a:gd name="T72" fmla="*/ 1563 w 5307"/>
                  <a:gd name="T73" fmla="*/ 2133 h 3616"/>
                  <a:gd name="T74" fmla="*/ 1119 w 5307"/>
                  <a:gd name="T75" fmla="*/ 2185 h 3616"/>
                  <a:gd name="T76" fmla="*/ 1352 w 5307"/>
                  <a:gd name="T77" fmla="*/ 2369 h 3616"/>
                  <a:gd name="T78" fmla="*/ 1459 w 5307"/>
                  <a:gd name="T79" fmla="*/ 2783 h 3616"/>
                  <a:gd name="T80" fmla="*/ 1980 w 5307"/>
                  <a:gd name="T81" fmla="*/ 3044 h 3616"/>
                  <a:gd name="T82" fmla="*/ 2003 w 5307"/>
                  <a:gd name="T83" fmla="*/ 2912 h 3616"/>
                  <a:gd name="T84" fmla="*/ 1772 w 5307"/>
                  <a:gd name="T85" fmla="*/ 2601 h 3616"/>
                  <a:gd name="T86" fmla="*/ 2187 w 5307"/>
                  <a:gd name="T87" fmla="*/ 2783 h 3616"/>
                  <a:gd name="T88" fmla="*/ 2552 w 5307"/>
                  <a:gd name="T89" fmla="*/ 2912 h 3616"/>
                  <a:gd name="T90" fmla="*/ 3043 w 5307"/>
                  <a:gd name="T91" fmla="*/ 2912 h 3616"/>
                  <a:gd name="T92" fmla="*/ 3279 w 5307"/>
                  <a:gd name="T93" fmla="*/ 3125 h 3616"/>
                  <a:gd name="T94" fmla="*/ 3408 w 5307"/>
                  <a:gd name="T95" fmla="*/ 3436 h 3616"/>
                  <a:gd name="T96" fmla="*/ 3435 w 5307"/>
                  <a:gd name="T97" fmla="*/ 3280 h 3616"/>
                  <a:gd name="T98" fmla="*/ 3696 w 5307"/>
                  <a:gd name="T99" fmla="*/ 3229 h 3616"/>
                  <a:gd name="T100" fmla="*/ 3667 w 5307"/>
                  <a:gd name="T101" fmla="*/ 2968 h 3616"/>
                  <a:gd name="T102" fmla="*/ 4032 w 5307"/>
                  <a:gd name="T103" fmla="*/ 2628 h 3616"/>
                  <a:gd name="T104" fmla="*/ 3955 w 5307"/>
                  <a:gd name="T105" fmla="*/ 2288 h 3616"/>
                  <a:gd name="T106" fmla="*/ 4072 w 5307"/>
                  <a:gd name="T107" fmla="*/ 2148 h 3616"/>
                  <a:gd name="T108" fmla="*/ 4162 w 5307"/>
                  <a:gd name="T109" fmla="*/ 2236 h 3616"/>
                  <a:gd name="T110" fmla="*/ 4424 w 5307"/>
                  <a:gd name="T111" fmla="*/ 1561 h 3616"/>
                  <a:gd name="T112" fmla="*/ 4447 w 5307"/>
                  <a:gd name="T113" fmla="*/ 1069 h 3616"/>
                  <a:gd name="T114" fmla="*/ 4786 w 5307"/>
                  <a:gd name="T115" fmla="*/ 912 h 3616"/>
                  <a:gd name="T116" fmla="*/ 4892 w 5307"/>
                  <a:gd name="T117" fmla="*/ 1354 h 3616"/>
                  <a:gd name="T118" fmla="*/ 5023 w 5307"/>
                  <a:gd name="T119" fmla="*/ 730 h 3616"/>
                  <a:gd name="T120" fmla="*/ 5023 w 5307"/>
                  <a:gd name="T121" fmla="*/ 417 h 3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07" h="3616">
                    <a:moveTo>
                      <a:pt x="5203" y="394"/>
                    </a:moveTo>
                    <a:lnTo>
                      <a:pt x="5232" y="342"/>
                    </a:lnTo>
                    <a:lnTo>
                      <a:pt x="5180" y="288"/>
                    </a:lnTo>
                    <a:lnTo>
                      <a:pt x="5099" y="313"/>
                    </a:lnTo>
                    <a:lnTo>
                      <a:pt x="5023" y="261"/>
                    </a:lnTo>
                    <a:lnTo>
                      <a:pt x="4971" y="237"/>
                    </a:lnTo>
                    <a:lnTo>
                      <a:pt x="4936" y="229"/>
                    </a:lnTo>
                    <a:lnTo>
                      <a:pt x="4944" y="237"/>
                    </a:lnTo>
                    <a:lnTo>
                      <a:pt x="4919" y="237"/>
                    </a:lnTo>
                    <a:lnTo>
                      <a:pt x="4840" y="210"/>
                    </a:lnTo>
                    <a:lnTo>
                      <a:pt x="4712" y="158"/>
                    </a:lnTo>
                    <a:lnTo>
                      <a:pt x="4604" y="158"/>
                    </a:lnTo>
                    <a:lnTo>
                      <a:pt x="4527" y="210"/>
                    </a:lnTo>
                    <a:lnTo>
                      <a:pt x="4579" y="237"/>
                    </a:lnTo>
                    <a:lnTo>
                      <a:pt x="4579" y="288"/>
                    </a:lnTo>
                    <a:lnTo>
                      <a:pt x="4552" y="288"/>
                    </a:lnTo>
                    <a:lnTo>
                      <a:pt x="4504" y="237"/>
                    </a:lnTo>
                    <a:lnTo>
                      <a:pt x="4395" y="261"/>
                    </a:lnTo>
                    <a:lnTo>
                      <a:pt x="4372" y="313"/>
                    </a:lnTo>
                    <a:lnTo>
                      <a:pt x="4320" y="288"/>
                    </a:lnTo>
                    <a:lnTo>
                      <a:pt x="4268" y="288"/>
                    </a:lnTo>
                    <a:lnTo>
                      <a:pt x="4216" y="210"/>
                    </a:lnTo>
                    <a:lnTo>
                      <a:pt x="4084" y="210"/>
                    </a:lnTo>
                    <a:lnTo>
                      <a:pt x="4059" y="261"/>
                    </a:lnTo>
                    <a:lnTo>
                      <a:pt x="4007" y="237"/>
                    </a:lnTo>
                    <a:lnTo>
                      <a:pt x="3928" y="237"/>
                    </a:lnTo>
                    <a:lnTo>
                      <a:pt x="3955" y="185"/>
                    </a:lnTo>
                    <a:lnTo>
                      <a:pt x="3903" y="185"/>
                    </a:lnTo>
                    <a:lnTo>
                      <a:pt x="3800" y="261"/>
                    </a:lnTo>
                    <a:lnTo>
                      <a:pt x="3800" y="210"/>
                    </a:lnTo>
                    <a:lnTo>
                      <a:pt x="3719" y="210"/>
                    </a:lnTo>
                    <a:lnTo>
                      <a:pt x="3667" y="237"/>
                    </a:lnTo>
                    <a:lnTo>
                      <a:pt x="3719" y="288"/>
                    </a:lnTo>
                    <a:lnTo>
                      <a:pt x="3696" y="288"/>
                    </a:lnTo>
                    <a:lnTo>
                      <a:pt x="3696" y="313"/>
                    </a:lnTo>
                    <a:lnTo>
                      <a:pt x="3644" y="313"/>
                    </a:lnTo>
                    <a:lnTo>
                      <a:pt x="3615" y="313"/>
                    </a:lnTo>
                    <a:lnTo>
                      <a:pt x="3563" y="365"/>
                    </a:lnTo>
                    <a:lnTo>
                      <a:pt x="3563" y="394"/>
                    </a:lnTo>
                    <a:lnTo>
                      <a:pt x="3512" y="365"/>
                    </a:lnTo>
                    <a:lnTo>
                      <a:pt x="3487" y="342"/>
                    </a:lnTo>
                    <a:lnTo>
                      <a:pt x="3435" y="342"/>
                    </a:lnTo>
                    <a:lnTo>
                      <a:pt x="3435" y="313"/>
                    </a:lnTo>
                    <a:lnTo>
                      <a:pt x="3383" y="237"/>
                    </a:lnTo>
                    <a:lnTo>
                      <a:pt x="3304" y="237"/>
                    </a:lnTo>
                    <a:lnTo>
                      <a:pt x="3279" y="237"/>
                    </a:lnTo>
                    <a:lnTo>
                      <a:pt x="3279" y="288"/>
                    </a:lnTo>
                    <a:lnTo>
                      <a:pt x="3176" y="313"/>
                    </a:lnTo>
                    <a:lnTo>
                      <a:pt x="3176" y="288"/>
                    </a:lnTo>
                    <a:lnTo>
                      <a:pt x="3147" y="288"/>
                    </a:lnTo>
                    <a:lnTo>
                      <a:pt x="3072" y="313"/>
                    </a:lnTo>
                    <a:lnTo>
                      <a:pt x="2968" y="288"/>
                    </a:lnTo>
                    <a:lnTo>
                      <a:pt x="2968" y="342"/>
                    </a:lnTo>
                    <a:lnTo>
                      <a:pt x="2915" y="365"/>
                    </a:lnTo>
                    <a:lnTo>
                      <a:pt x="2888" y="394"/>
                    </a:lnTo>
                    <a:lnTo>
                      <a:pt x="2863" y="394"/>
                    </a:lnTo>
                    <a:lnTo>
                      <a:pt x="2915" y="288"/>
                    </a:lnTo>
                    <a:lnTo>
                      <a:pt x="2940" y="261"/>
                    </a:lnTo>
                    <a:lnTo>
                      <a:pt x="2940" y="237"/>
                    </a:lnTo>
                    <a:lnTo>
                      <a:pt x="2940" y="185"/>
                    </a:lnTo>
                    <a:lnTo>
                      <a:pt x="2915" y="133"/>
                    </a:lnTo>
                    <a:lnTo>
                      <a:pt x="2915" y="81"/>
                    </a:lnTo>
                    <a:lnTo>
                      <a:pt x="2836" y="54"/>
                    </a:lnTo>
                    <a:lnTo>
                      <a:pt x="2784" y="54"/>
                    </a:lnTo>
                    <a:lnTo>
                      <a:pt x="2759" y="54"/>
                    </a:lnTo>
                    <a:lnTo>
                      <a:pt x="2759" y="106"/>
                    </a:lnTo>
                    <a:lnTo>
                      <a:pt x="2732" y="106"/>
                    </a:lnTo>
                    <a:lnTo>
                      <a:pt x="2707" y="54"/>
                    </a:lnTo>
                    <a:lnTo>
                      <a:pt x="2655" y="29"/>
                    </a:lnTo>
                    <a:lnTo>
                      <a:pt x="2627" y="0"/>
                    </a:lnTo>
                    <a:lnTo>
                      <a:pt x="2604" y="0"/>
                    </a:lnTo>
                    <a:lnTo>
                      <a:pt x="2575" y="54"/>
                    </a:lnTo>
                    <a:lnTo>
                      <a:pt x="2575" y="81"/>
                    </a:lnTo>
                    <a:lnTo>
                      <a:pt x="2627" y="106"/>
                    </a:lnTo>
                    <a:lnTo>
                      <a:pt x="2604" y="133"/>
                    </a:lnTo>
                    <a:lnTo>
                      <a:pt x="2627" y="158"/>
                    </a:lnTo>
                    <a:lnTo>
                      <a:pt x="2604" y="158"/>
                    </a:lnTo>
                    <a:lnTo>
                      <a:pt x="2575" y="210"/>
                    </a:lnTo>
                    <a:lnTo>
                      <a:pt x="2500" y="210"/>
                    </a:lnTo>
                    <a:lnTo>
                      <a:pt x="2471" y="210"/>
                    </a:lnTo>
                    <a:lnTo>
                      <a:pt x="2448" y="210"/>
                    </a:lnTo>
                    <a:lnTo>
                      <a:pt x="2448" y="237"/>
                    </a:lnTo>
                    <a:lnTo>
                      <a:pt x="2367" y="288"/>
                    </a:lnTo>
                    <a:lnTo>
                      <a:pt x="2367" y="365"/>
                    </a:lnTo>
                    <a:lnTo>
                      <a:pt x="2396" y="417"/>
                    </a:lnTo>
                    <a:lnTo>
                      <a:pt x="2367" y="417"/>
                    </a:lnTo>
                    <a:lnTo>
                      <a:pt x="2291" y="446"/>
                    </a:lnTo>
                    <a:lnTo>
                      <a:pt x="2264" y="469"/>
                    </a:lnTo>
                    <a:lnTo>
                      <a:pt x="2291" y="549"/>
                    </a:lnTo>
                    <a:lnTo>
                      <a:pt x="2367" y="549"/>
                    </a:lnTo>
                    <a:lnTo>
                      <a:pt x="2367" y="601"/>
                    </a:lnTo>
                    <a:lnTo>
                      <a:pt x="2419" y="653"/>
                    </a:lnTo>
                    <a:lnTo>
                      <a:pt x="2448" y="730"/>
                    </a:lnTo>
                    <a:lnTo>
                      <a:pt x="2396" y="678"/>
                    </a:lnTo>
                    <a:lnTo>
                      <a:pt x="2367" y="601"/>
                    </a:lnTo>
                    <a:lnTo>
                      <a:pt x="2264" y="549"/>
                    </a:lnTo>
                    <a:lnTo>
                      <a:pt x="2239" y="549"/>
                    </a:lnTo>
                    <a:lnTo>
                      <a:pt x="2239" y="572"/>
                    </a:lnTo>
                    <a:lnTo>
                      <a:pt x="2187" y="624"/>
                    </a:lnTo>
                    <a:lnTo>
                      <a:pt x="2239" y="624"/>
                    </a:lnTo>
                    <a:lnTo>
                      <a:pt x="2264" y="653"/>
                    </a:lnTo>
                    <a:lnTo>
                      <a:pt x="2187" y="653"/>
                    </a:lnTo>
                    <a:lnTo>
                      <a:pt x="2135" y="601"/>
                    </a:lnTo>
                    <a:lnTo>
                      <a:pt x="2135" y="653"/>
                    </a:lnTo>
                    <a:lnTo>
                      <a:pt x="2187" y="730"/>
                    </a:lnTo>
                    <a:lnTo>
                      <a:pt x="2187" y="757"/>
                    </a:lnTo>
                    <a:lnTo>
                      <a:pt x="2212" y="782"/>
                    </a:lnTo>
                    <a:lnTo>
                      <a:pt x="2291" y="782"/>
                    </a:lnTo>
                    <a:lnTo>
                      <a:pt x="2327" y="841"/>
                    </a:lnTo>
                    <a:lnTo>
                      <a:pt x="2264" y="808"/>
                    </a:lnTo>
                    <a:lnTo>
                      <a:pt x="2239" y="808"/>
                    </a:lnTo>
                    <a:lnTo>
                      <a:pt x="2212" y="833"/>
                    </a:lnTo>
                    <a:lnTo>
                      <a:pt x="2239" y="912"/>
                    </a:lnTo>
                    <a:lnTo>
                      <a:pt x="2212" y="989"/>
                    </a:lnTo>
                    <a:lnTo>
                      <a:pt x="2160" y="989"/>
                    </a:lnTo>
                    <a:lnTo>
                      <a:pt x="2108" y="989"/>
                    </a:lnTo>
                    <a:lnTo>
                      <a:pt x="2160" y="966"/>
                    </a:lnTo>
                    <a:lnTo>
                      <a:pt x="2187" y="860"/>
                    </a:lnTo>
                    <a:lnTo>
                      <a:pt x="2187" y="808"/>
                    </a:lnTo>
                    <a:lnTo>
                      <a:pt x="2083" y="653"/>
                    </a:lnTo>
                    <a:lnTo>
                      <a:pt x="2056" y="572"/>
                    </a:lnTo>
                    <a:lnTo>
                      <a:pt x="2003" y="549"/>
                    </a:lnTo>
                    <a:lnTo>
                      <a:pt x="1980" y="678"/>
                    </a:lnTo>
                    <a:lnTo>
                      <a:pt x="2003" y="757"/>
                    </a:lnTo>
                    <a:lnTo>
                      <a:pt x="2056" y="808"/>
                    </a:lnTo>
                    <a:lnTo>
                      <a:pt x="2056" y="833"/>
                    </a:lnTo>
                    <a:lnTo>
                      <a:pt x="2003" y="808"/>
                    </a:lnTo>
                    <a:lnTo>
                      <a:pt x="1951" y="782"/>
                    </a:lnTo>
                    <a:lnTo>
                      <a:pt x="1847" y="782"/>
                    </a:lnTo>
                    <a:lnTo>
                      <a:pt x="1876" y="833"/>
                    </a:lnTo>
                    <a:lnTo>
                      <a:pt x="1876" y="860"/>
                    </a:lnTo>
                    <a:lnTo>
                      <a:pt x="1847" y="860"/>
                    </a:lnTo>
                    <a:lnTo>
                      <a:pt x="1824" y="833"/>
                    </a:lnTo>
                    <a:lnTo>
                      <a:pt x="1743" y="885"/>
                    </a:lnTo>
                    <a:lnTo>
                      <a:pt x="1720" y="885"/>
                    </a:lnTo>
                    <a:lnTo>
                      <a:pt x="1692" y="860"/>
                    </a:lnTo>
                    <a:lnTo>
                      <a:pt x="1615" y="912"/>
                    </a:lnTo>
                    <a:lnTo>
                      <a:pt x="1588" y="937"/>
                    </a:lnTo>
                    <a:lnTo>
                      <a:pt x="1563" y="937"/>
                    </a:lnTo>
                    <a:lnTo>
                      <a:pt x="1536" y="989"/>
                    </a:lnTo>
                    <a:lnTo>
                      <a:pt x="1507" y="966"/>
                    </a:lnTo>
                    <a:lnTo>
                      <a:pt x="1507" y="885"/>
                    </a:lnTo>
                    <a:lnTo>
                      <a:pt x="1484" y="912"/>
                    </a:lnTo>
                    <a:lnTo>
                      <a:pt x="1459" y="937"/>
                    </a:lnTo>
                    <a:lnTo>
                      <a:pt x="1484" y="1018"/>
                    </a:lnTo>
                    <a:lnTo>
                      <a:pt x="1459" y="1041"/>
                    </a:lnTo>
                    <a:lnTo>
                      <a:pt x="1407" y="1041"/>
                    </a:lnTo>
                    <a:lnTo>
                      <a:pt x="1379" y="1093"/>
                    </a:lnTo>
                    <a:lnTo>
                      <a:pt x="1379" y="1121"/>
                    </a:lnTo>
                    <a:lnTo>
                      <a:pt x="1379" y="1144"/>
                    </a:lnTo>
                    <a:lnTo>
                      <a:pt x="1327" y="1093"/>
                    </a:lnTo>
                    <a:lnTo>
                      <a:pt x="1300" y="1144"/>
                    </a:lnTo>
                    <a:lnTo>
                      <a:pt x="1300" y="1173"/>
                    </a:lnTo>
                    <a:lnTo>
                      <a:pt x="1252" y="1121"/>
                    </a:lnTo>
                    <a:lnTo>
                      <a:pt x="1252" y="1041"/>
                    </a:lnTo>
                    <a:lnTo>
                      <a:pt x="1196" y="1018"/>
                    </a:lnTo>
                    <a:lnTo>
                      <a:pt x="1196" y="989"/>
                    </a:lnTo>
                    <a:lnTo>
                      <a:pt x="1252" y="1018"/>
                    </a:lnTo>
                    <a:lnTo>
                      <a:pt x="1300" y="1041"/>
                    </a:lnTo>
                    <a:lnTo>
                      <a:pt x="1352" y="1018"/>
                    </a:lnTo>
                    <a:lnTo>
                      <a:pt x="1379" y="989"/>
                    </a:lnTo>
                    <a:lnTo>
                      <a:pt x="1300" y="885"/>
                    </a:lnTo>
                    <a:lnTo>
                      <a:pt x="1252" y="860"/>
                    </a:lnTo>
                    <a:lnTo>
                      <a:pt x="1196" y="860"/>
                    </a:lnTo>
                    <a:lnTo>
                      <a:pt x="1144" y="833"/>
                    </a:lnTo>
                    <a:lnTo>
                      <a:pt x="1119" y="808"/>
                    </a:lnTo>
                    <a:lnTo>
                      <a:pt x="1091" y="808"/>
                    </a:lnTo>
                    <a:lnTo>
                      <a:pt x="1119" y="782"/>
                    </a:lnTo>
                    <a:lnTo>
                      <a:pt x="1091" y="757"/>
                    </a:lnTo>
                    <a:lnTo>
                      <a:pt x="1039" y="757"/>
                    </a:lnTo>
                    <a:lnTo>
                      <a:pt x="1016" y="782"/>
                    </a:lnTo>
                    <a:lnTo>
                      <a:pt x="987" y="757"/>
                    </a:lnTo>
                    <a:lnTo>
                      <a:pt x="964" y="757"/>
                    </a:lnTo>
                    <a:lnTo>
                      <a:pt x="964" y="782"/>
                    </a:lnTo>
                    <a:lnTo>
                      <a:pt x="935" y="782"/>
                    </a:lnTo>
                    <a:lnTo>
                      <a:pt x="912" y="782"/>
                    </a:lnTo>
                    <a:lnTo>
                      <a:pt x="912" y="833"/>
                    </a:lnTo>
                    <a:lnTo>
                      <a:pt x="860" y="833"/>
                    </a:lnTo>
                    <a:lnTo>
                      <a:pt x="808" y="833"/>
                    </a:lnTo>
                    <a:lnTo>
                      <a:pt x="755" y="912"/>
                    </a:lnTo>
                    <a:lnTo>
                      <a:pt x="780" y="912"/>
                    </a:lnTo>
                    <a:lnTo>
                      <a:pt x="755" y="937"/>
                    </a:lnTo>
                    <a:lnTo>
                      <a:pt x="755" y="966"/>
                    </a:lnTo>
                    <a:lnTo>
                      <a:pt x="728" y="937"/>
                    </a:lnTo>
                    <a:lnTo>
                      <a:pt x="703" y="989"/>
                    </a:lnTo>
                    <a:lnTo>
                      <a:pt x="703" y="1018"/>
                    </a:lnTo>
                    <a:lnTo>
                      <a:pt x="651" y="1093"/>
                    </a:lnTo>
                    <a:lnTo>
                      <a:pt x="599" y="1144"/>
                    </a:lnTo>
                    <a:lnTo>
                      <a:pt x="599" y="1173"/>
                    </a:lnTo>
                    <a:lnTo>
                      <a:pt x="572" y="1173"/>
                    </a:lnTo>
                    <a:lnTo>
                      <a:pt x="572" y="1196"/>
                    </a:lnTo>
                    <a:lnTo>
                      <a:pt x="520" y="1248"/>
                    </a:lnTo>
                    <a:lnTo>
                      <a:pt x="495" y="1277"/>
                    </a:lnTo>
                    <a:lnTo>
                      <a:pt x="495" y="1302"/>
                    </a:lnTo>
                    <a:lnTo>
                      <a:pt x="495" y="1329"/>
                    </a:lnTo>
                    <a:lnTo>
                      <a:pt x="495" y="1354"/>
                    </a:lnTo>
                    <a:lnTo>
                      <a:pt x="495" y="1380"/>
                    </a:lnTo>
                    <a:lnTo>
                      <a:pt x="495" y="1405"/>
                    </a:lnTo>
                    <a:lnTo>
                      <a:pt x="495" y="1432"/>
                    </a:lnTo>
                    <a:lnTo>
                      <a:pt x="520" y="1457"/>
                    </a:lnTo>
                    <a:lnTo>
                      <a:pt x="572" y="1432"/>
                    </a:lnTo>
                    <a:lnTo>
                      <a:pt x="599" y="1405"/>
                    </a:lnTo>
                    <a:lnTo>
                      <a:pt x="651" y="1380"/>
                    </a:lnTo>
                    <a:lnTo>
                      <a:pt x="651" y="1432"/>
                    </a:lnTo>
                    <a:lnTo>
                      <a:pt x="651" y="1457"/>
                    </a:lnTo>
                    <a:lnTo>
                      <a:pt x="676" y="1484"/>
                    </a:lnTo>
                    <a:lnTo>
                      <a:pt x="676" y="1509"/>
                    </a:lnTo>
                    <a:lnTo>
                      <a:pt x="703" y="1561"/>
                    </a:lnTo>
                    <a:lnTo>
                      <a:pt x="728" y="1561"/>
                    </a:lnTo>
                    <a:lnTo>
                      <a:pt x="728" y="1509"/>
                    </a:lnTo>
                    <a:lnTo>
                      <a:pt x="755" y="1509"/>
                    </a:lnTo>
                    <a:lnTo>
                      <a:pt x="780" y="1484"/>
                    </a:lnTo>
                    <a:lnTo>
                      <a:pt x="780" y="1432"/>
                    </a:lnTo>
                    <a:lnTo>
                      <a:pt x="780" y="1405"/>
                    </a:lnTo>
                    <a:lnTo>
                      <a:pt x="780" y="1380"/>
                    </a:lnTo>
                    <a:lnTo>
                      <a:pt x="808" y="1380"/>
                    </a:lnTo>
                    <a:lnTo>
                      <a:pt x="831" y="1380"/>
                    </a:lnTo>
                    <a:lnTo>
                      <a:pt x="831" y="1354"/>
                    </a:lnTo>
                    <a:lnTo>
                      <a:pt x="780" y="1302"/>
                    </a:lnTo>
                    <a:lnTo>
                      <a:pt x="808" y="1225"/>
                    </a:lnTo>
                    <a:lnTo>
                      <a:pt x="860" y="1225"/>
                    </a:lnTo>
                    <a:lnTo>
                      <a:pt x="883" y="1173"/>
                    </a:lnTo>
                    <a:lnTo>
                      <a:pt x="912" y="1144"/>
                    </a:lnTo>
                    <a:lnTo>
                      <a:pt x="912" y="1093"/>
                    </a:lnTo>
                    <a:lnTo>
                      <a:pt x="964" y="1041"/>
                    </a:lnTo>
                    <a:lnTo>
                      <a:pt x="987" y="1069"/>
                    </a:lnTo>
                    <a:lnTo>
                      <a:pt x="1016" y="1093"/>
                    </a:lnTo>
                    <a:lnTo>
                      <a:pt x="987" y="1121"/>
                    </a:lnTo>
                    <a:lnTo>
                      <a:pt x="935" y="1173"/>
                    </a:lnTo>
                    <a:lnTo>
                      <a:pt x="935" y="1196"/>
                    </a:lnTo>
                    <a:lnTo>
                      <a:pt x="912" y="1196"/>
                    </a:lnTo>
                    <a:lnTo>
                      <a:pt x="912" y="1225"/>
                    </a:lnTo>
                    <a:lnTo>
                      <a:pt x="912" y="1248"/>
                    </a:lnTo>
                    <a:lnTo>
                      <a:pt x="935" y="1277"/>
                    </a:lnTo>
                    <a:lnTo>
                      <a:pt x="912" y="1302"/>
                    </a:lnTo>
                    <a:lnTo>
                      <a:pt x="912" y="1329"/>
                    </a:lnTo>
                    <a:lnTo>
                      <a:pt x="935" y="1329"/>
                    </a:lnTo>
                    <a:lnTo>
                      <a:pt x="987" y="1329"/>
                    </a:lnTo>
                    <a:lnTo>
                      <a:pt x="1091" y="1302"/>
                    </a:lnTo>
                    <a:lnTo>
                      <a:pt x="1119" y="1302"/>
                    </a:lnTo>
                    <a:lnTo>
                      <a:pt x="1144" y="1329"/>
                    </a:lnTo>
                    <a:lnTo>
                      <a:pt x="1171" y="1354"/>
                    </a:lnTo>
                    <a:lnTo>
                      <a:pt x="1144" y="1380"/>
                    </a:lnTo>
                    <a:lnTo>
                      <a:pt x="1119" y="1405"/>
                    </a:lnTo>
                    <a:lnTo>
                      <a:pt x="1144" y="1380"/>
                    </a:lnTo>
                    <a:lnTo>
                      <a:pt x="1091" y="1380"/>
                    </a:lnTo>
                    <a:lnTo>
                      <a:pt x="1068" y="1380"/>
                    </a:lnTo>
                    <a:lnTo>
                      <a:pt x="1016" y="1405"/>
                    </a:lnTo>
                    <a:lnTo>
                      <a:pt x="987" y="1405"/>
                    </a:lnTo>
                    <a:lnTo>
                      <a:pt x="987" y="1457"/>
                    </a:lnTo>
                    <a:lnTo>
                      <a:pt x="987" y="1484"/>
                    </a:lnTo>
                    <a:lnTo>
                      <a:pt x="935" y="1484"/>
                    </a:lnTo>
                    <a:lnTo>
                      <a:pt x="912" y="1509"/>
                    </a:lnTo>
                    <a:lnTo>
                      <a:pt x="912" y="1536"/>
                    </a:lnTo>
                    <a:lnTo>
                      <a:pt x="912" y="1561"/>
                    </a:lnTo>
                    <a:lnTo>
                      <a:pt x="912" y="1590"/>
                    </a:lnTo>
                    <a:lnTo>
                      <a:pt x="883" y="1613"/>
                    </a:lnTo>
                    <a:lnTo>
                      <a:pt x="912" y="1613"/>
                    </a:lnTo>
                    <a:lnTo>
                      <a:pt x="964" y="1641"/>
                    </a:lnTo>
                    <a:lnTo>
                      <a:pt x="935" y="1641"/>
                    </a:lnTo>
                    <a:lnTo>
                      <a:pt x="883" y="1613"/>
                    </a:lnTo>
                    <a:lnTo>
                      <a:pt x="860" y="1613"/>
                    </a:lnTo>
                    <a:lnTo>
                      <a:pt x="808" y="1613"/>
                    </a:lnTo>
                    <a:lnTo>
                      <a:pt x="728" y="1641"/>
                    </a:lnTo>
                    <a:lnTo>
                      <a:pt x="676" y="1641"/>
                    </a:lnTo>
                    <a:lnTo>
                      <a:pt x="624" y="1641"/>
                    </a:lnTo>
                    <a:lnTo>
                      <a:pt x="599" y="1613"/>
                    </a:lnTo>
                    <a:lnTo>
                      <a:pt x="599" y="1561"/>
                    </a:lnTo>
                    <a:lnTo>
                      <a:pt x="624" y="1536"/>
                    </a:lnTo>
                    <a:lnTo>
                      <a:pt x="624" y="1509"/>
                    </a:lnTo>
                    <a:lnTo>
                      <a:pt x="599" y="1457"/>
                    </a:lnTo>
                    <a:lnTo>
                      <a:pt x="572" y="1509"/>
                    </a:lnTo>
                    <a:lnTo>
                      <a:pt x="572" y="1536"/>
                    </a:lnTo>
                    <a:lnTo>
                      <a:pt x="572" y="1590"/>
                    </a:lnTo>
                    <a:lnTo>
                      <a:pt x="572" y="1613"/>
                    </a:lnTo>
                    <a:lnTo>
                      <a:pt x="572" y="1641"/>
                    </a:lnTo>
                    <a:lnTo>
                      <a:pt x="547" y="1641"/>
                    </a:lnTo>
                    <a:lnTo>
                      <a:pt x="520" y="1664"/>
                    </a:lnTo>
                    <a:lnTo>
                      <a:pt x="467" y="1664"/>
                    </a:lnTo>
                    <a:lnTo>
                      <a:pt x="467" y="1693"/>
                    </a:lnTo>
                    <a:lnTo>
                      <a:pt x="444" y="1716"/>
                    </a:lnTo>
                    <a:lnTo>
                      <a:pt x="415" y="1716"/>
                    </a:lnTo>
                    <a:lnTo>
                      <a:pt x="415" y="1745"/>
                    </a:lnTo>
                    <a:lnTo>
                      <a:pt x="392" y="1745"/>
                    </a:lnTo>
                    <a:lnTo>
                      <a:pt x="363" y="1768"/>
                    </a:lnTo>
                    <a:lnTo>
                      <a:pt x="311" y="1797"/>
                    </a:lnTo>
                    <a:lnTo>
                      <a:pt x="288" y="1797"/>
                    </a:lnTo>
                    <a:lnTo>
                      <a:pt x="236" y="1820"/>
                    </a:lnTo>
                    <a:lnTo>
                      <a:pt x="207" y="1849"/>
                    </a:lnTo>
                    <a:lnTo>
                      <a:pt x="184" y="1849"/>
                    </a:lnTo>
                    <a:lnTo>
                      <a:pt x="184" y="1872"/>
                    </a:lnTo>
                    <a:lnTo>
                      <a:pt x="207" y="1872"/>
                    </a:lnTo>
                    <a:lnTo>
                      <a:pt x="236" y="1901"/>
                    </a:lnTo>
                    <a:lnTo>
                      <a:pt x="236" y="1925"/>
                    </a:lnTo>
                    <a:lnTo>
                      <a:pt x="236" y="2004"/>
                    </a:lnTo>
                    <a:lnTo>
                      <a:pt x="207" y="2029"/>
                    </a:lnTo>
                    <a:lnTo>
                      <a:pt x="184" y="2029"/>
                    </a:lnTo>
                    <a:lnTo>
                      <a:pt x="156" y="2029"/>
                    </a:lnTo>
                    <a:lnTo>
                      <a:pt x="131" y="2004"/>
                    </a:lnTo>
                    <a:lnTo>
                      <a:pt x="79" y="2029"/>
                    </a:lnTo>
                    <a:lnTo>
                      <a:pt x="52" y="2029"/>
                    </a:lnTo>
                    <a:lnTo>
                      <a:pt x="27" y="2029"/>
                    </a:lnTo>
                    <a:lnTo>
                      <a:pt x="27" y="2081"/>
                    </a:lnTo>
                    <a:lnTo>
                      <a:pt x="27" y="2133"/>
                    </a:lnTo>
                    <a:lnTo>
                      <a:pt x="27" y="2185"/>
                    </a:lnTo>
                    <a:lnTo>
                      <a:pt x="0" y="2213"/>
                    </a:lnTo>
                    <a:lnTo>
                      <a:pt x="27" y="2265"/>
                    </a:lnTo>
                    <a:lnTo>
                      <a:pt x="0" y="2317"/>
                    </a:lnTo>
                    <a:lnTo>
                      <a:pt x="52" y="2317"/>
                    </a:lnTo>
                    <a:lnTo>
                      <a:pt x="79" y="2317"/>
                    </a:lnTo>
                    <a:lnTo>
                      <a:pt x="104" y="2369"/>
                    </a:lnTo>
                    <a:lnTo>
                      <a:pt x="156" y="2340"/>
                    </a:lnTo>
                    <a:lnTo>
                      <a:pt x="207" y="2369"/>
                    </a:lnTo>
                    <a:lnTo>
                      <a:pt x="236" y="2340"/>
                    </a:lnTo>
                    <a:lnTo>
                      <a:pt x="259" y="2317"/>
                    </a:lnTo>
                    <a:lnTo>
                      <a:pt x="288" y="2265"/>
                    </a:lnTo>
                    <a:lnTo>
                      <a:pt x="340" y="2185"/>
                    </a:lnTo>
                    <a:lnTo>
                      <a:pt x="392" y="2133"/>
                    </a:lnTo>
                    <a:lnTo>
                      <a:pt x="392" y="2081"/>
                    </a:lnTo>
                    <a:lnTo>
                      <a:pt x="415" y="2081"/>
                    </a:lnTo>
                    <a:lnTo>
                      <a:pt x="415" y="2056"/>
                    </a:lnTo>
                    <a:lnTo>
                      <a:pt x="467" y="2056"/>
                    </a:lnTo>
                    <a:lnTo>
                      <a:pt x="495" y="2029"/>
                    </a:lnTo>
                    <a:lnTo>
                      <a:pt x="520" y="2029"/>
                    </a:lnTo>
                    <a:lnTo>
                      <a:pt x="572" y="2029"/>
                    </a:lnTo>
                    <a:lnTo>
                      <a:pt x="599" y="2029"/>
                    </a:lnTo>
                    <a:lnTo>
                      <a:pt x="624" y="2056"/>
                    </a:lnTo>
                    <a:lnTo>
                      <a:pt x="624" y="2081"/>
                    </a:lnTo>
                    <a:lnTo>
                      <a:pt x="703" y="2160"/>
                    </a:lnTo>
                    <a:lnTo>
                      <a:pt x="728" y="2160"/>
                    </a:lnTo>
                    <a:lnTo>
                      <a:pt x="755" y="2185"/>
                    </a:lnTo>
                    <a:lnTo>
                      <a:pt x="780" y="2213"/>
                    </a:lnTo>
                    <a:lnTo>
                      <a:pt x="755" y="2236"/>
                    </a:lnTo>
                    <a:lnTo>
                      <a:pt x="755" y="2265"/>
                    </a:lnTo>
                    <a:lnTo>
                      <a:pt x="808" y="2236"/>
                    </a:lnTo>
                    <a:lnTo>
                      <a:pt x="780" y="2185"/>
                    </a:lnTo>
                    <a:lnTo>
                      <a:pt x="780" y="2160"/>
                    </a:lnTo>
                    <a:lnTo>
                      <a:pt x="808" y="2185"/>
                    </a:lnTo>
                    <a:lnTo>
                      <a:pt x="831" y="2213"/>
                    </a:lnTo>
                    <a:lnTo>
                      <a:pt x="831" y="2185"/>
                    </a:lnTo>
                    <a:lnTo>
                      <a:pt x="780" y="2133"/>
                    </a:lnTo>
                    <a:lnTo>
                      <a:pt x="755" y="2108"/>
                    </a:lnTo>
                    <a:lnTo>
                      <a:pt x="728" y="2081"/>
                    </a:lnTo>
                    <a:lnTo>
                      <a:pt x="703" y="2081"/>
                    </a:lnTo>
                    <a:lnTo>
                      <a:pt x="676" y="2029"/>
                    </a:lnTo>
                    <a:lnTo>
                      <a:pt x="651" y="2029"/>
                    </a:lnTo>
                    <a:lnTo>
                      <a:pt x="651" y="2004"/>
                    </a:lnTo>
                    <a:lnTo>
                      <a:pt x="651" y="1977"/>
                    </a:lnTo>
                    <a:lnTo>
                      <a:pt x="676" y="1977"/>
                    </a:lnTo>
                    <a:lnTo>
                      <a:pt x="703" y="2004"/>
                    </a:lnTo>
                    <a:lnTo>
                      <a:pt x="755" y="2004"/>
                    </a:lnTo>
                    <a:lnTo>
                      <a:pt x="755" y="2029"/>
                    </a:lnTo>
                    <a:lnTo>
                      <a:pt x="780" y="2056"/>
                    </a:lnTo>
                    <a:lnTo>
                      <a:pt x="808" y="2081"/>
                    </a:lnTo>
                    <a:lnTo>
                      <a:pt x="860" y="2081"/>
                    </a:lnTo>
                    <a:lnTo>
                      <a:pt x="883" y="2108"/>
                    </a:lnTo>
                    <a:lnTo>
                      <a:pt x="883" y="2133"/>
                    </a:lnTo>
                    <a:lnTo>
                      <a:pt x="883" y="2185"/>
                    </a:lnTo>
                    <a:lnTo>
                      <a:pt x="912" y="2185"/>
                    </a:lnTo>
                    <a:lnTo>
                      <a:pt x="935" y="2185"/>
                    </a:lnTo>
                    <a:lnTo>
                      <a:pt x="935" y="2213"/>
                    </a:lnTo>
                    <a:lnTo>
                      <a:pt x="935" y="2236"/>
                    </a:lnTo>
                    <a:lnTo>
                      <a:pt x="987" y="2288"/>
                    </a:lnTo>
                    <a:lnTo>
                      <a:pt x="1016" y="2288"/>
                    </a:lnTo>
                    <a:lnTo>
                      <a:pt x="987" y="2265"/>
                    </a:lnTo>
                    <a:lnTo>
                      <a:pt x="964" y="2236"/>
                    </a:lnTo>
                    <a:lnTo>
                      <a:pt x="964" y="2213"/>
                    </a:lnTo>
                    <a:lnTo>
                      <a:pt x="1016" y="2213"/>
                    </a:lnTo>
                    <a:lnTo>
                      <a:pt x="964" y="2185"/>
                    </a:lnTo>
                    <a:lnTo>
                      <a:pt x="987" y="2185"/>
                    </a:lnTo>
                    <a:lnTo>
                      <a:pt x="1016" y="2213"/>
                    </a:lnTo>
                    <a:lnTo>
                      <a:pt x="1016" y="2185"/>
                    </a:lnTo>
                    <a:lnTo>
                      <a:pt x="1039" y="2185"/>
                    </a:lnTo>
                    <a:lnTo>
                      <a:pt x="1068" y="2185"/>
                    </a:lnTo>
                    <a:lnTo>
                      <a:pt x="1091" y="2160"/>
                    </a:lnTo>
                    <a:lnTo>
                      <a:pt x="1091" y="2133"/>
                    </a:lnTo>
                    <a:lnTo>
                      <a:pt x="1119" y="2133"/>
                    </a:lnTo>
                    <a:lnTo>
                      <a:pt x="1144" y="2108"/>
                    </a:lnTo>
                    <a:lnTo>
                      <a:pt x="1119" y="2081"/>
                    </a:lnTo>
                    <a:lnTo>
                      <a:pt x="1144" y="2056"/>
                    </a:lnTo>
                    <a:lnTo>
                      <a:pt x="1144" y="2029"/>
                    </a:lnTo>
                    <a:lnTo>
                      <a:pt x="1144" y="2004"/>
                    </a:lnTo>
                    <a:lnTo>
                      <a:pt x="1171" y="2004"/>
                    </a:lnTo>
                    <a:lnTo>
                      <a:pt x="1196" y="2004"/>
                    </a:lnTo>
                    <a:lnTo>
                      <a:pt x="1223" y="1952"/>
                    </a:lnTo>
                    <a:lnTo>
                      <a:pt x="1248" y="1952"/>
                    </a:lnTo>
                    <a:lnTo>
                      <a:pt x="1275" y="1952"/>
                    </a:lnTo>
                    <a:lnTo>
                      <a:pt x="1275" y="1977"/>
                    </a:lnTo>
                    <a:lnTo>
                      <a:pt x="1300" y="2004"/>
                    </a:lnTo>
                    <a:lnTo>
                      <a:pt x="1327" y="2004"/>
                    </a:lnTo>
                    <a:lnTo>
                      <a:pt x="1300" y="1977"/>
                    </a:lnTo>
                    <a:lnTo>
                      <a:pt x="1300" y="1952"/>
                    </a:lnTo>
                    <a:lnTo>
                      <a:pt x="1327" y="1952"/>
                    </a:lnTo>
                    <a:lnTo>
                      <a:pt x="1379" y="1952"/>
                    </a:lnTo>
                    <a:lnTo>
                      <a:pt x="1404" y="1925"/>
                    </a:lnTo>
                    <a:lnTo>
                      <a:pt x="1432" y="1901"/>
                    </a:lnTo>
                    <a:lnTo>
                      <a:pt x="1459" y="1872"/>
                    </a:lnTo>
                    <a:lnTo>
                      <a:pt x="1459" y="1877"/>
                    </a:lnTo>
                    <a:lnTo>
                      <a:pt x="1432" y="1901"/>
                    </a:lnTo>
                    <a:lnTo>
                      <a:pt x="1407" y="1925"/>
                    </a:lnTo>
                    <a:lnTo>
                      <a:pt x="1459" y="1925"/>
                    </a:lnTo>
                    <a:lnTo>
                      <a:pt x="1459" y="1952"/>
                    </a:lnTo>
                    <a:lnTo>
                      <a:pt x="1432" y="2004"/>
                    </a:lnTo>
                    <a:lnTo>
                      <a:pt x="1459" y="2033"/>
                    </a:lnTo>
                    <a:lnTo>
                      <a:pt x="1484" y="2056"/>
                    </a:lnTo>
                    <a:lnTo>
                      <a:pt x="1536" y="2081"/>
                    </a:lnTo>
                    <a:lnTo>
                      <a:pt x="1563" y="2133"/>
                    </a:lnTo>
                    <a:lnTo>
                      <a:pt x="1563" y="2160"/>
                    </a:lnTo>
                    <a:lnTo>
                      <a:pt x="1507" y="2160"/>
                    </a:lnTo>
                    <a:lnTo>
                      <a:pt x="1484" y="2185"/>
                    </a:lnTo>
                    <a:lnTo>
                      <a:pt x="1459" y="2185"/>
                    </a:lnTo>
                    <a:lnTo>
                      <a:pt x="1327" y="2133"/>
                    </a:lnTo>
                    <a:lnTo>
                      <a:pt x="1275" y="2133"/>
                    </a:lnTo>
                    <a:lnTo>
                      <a:pt x="1223" y="2160"/>
                    </a:lnTo>
                    <a:lnTo>
                      <a:pt x="1171" y="2185"/>
                    </a:lnTo>
                    <a:lnTo>
                      <a:pt x="1144" y="2185"/>
                    </a:lnTo>
                    <a:lnTo>
                      <a:pt x="1171" y="2213"/>
                    </a:lnTo>
                    <a:lnTo>
                      <a:pt x="1119" y="2185"/>
                    </a:lnTo>
                    <a:lnTo>
                      <a:pt x="1119" y="2213"/>
                    </a:lnTo>
                    <a:lnTo>
                      <a:pt x="1119" y="2236"/>
                    </a:lnTo>
                    <a:lnTo>
                      <a:pt x="1091" y="2288"/>
                    </a:lnTo>
                    <a:lnTo>
                      <a:pt x="1119" y="2288"/>
                    </a:lnTo>
                    <a:lnTo>
                      <a:pt x="1144" y="2317"/>
                    </a:lnTo>
                    <a:lnTo>
                      <a:pt x="1171" y="2340"/>
                    </a:lnTo>
                    <a:lnTo>
                      <a:pt x="1196" y="2369"/>
                    </a:lnTo>
                    <a:lnTo>
                      <a:pt x="1275" y="2340"/>
                    </a:lnTo>
                    <a:lnTo>
                      <a:pt x="1275" y="2369"/>
                    </a:lnTo>
                    <a:lnTo>
                      <a:pt x="1300" y="2369"/>
                    </a:lnTo>
                    <a:lnTo>
                      <a:pt x="1352" y="2369"/>
                    </a:lnTo>
                    <a:lnTo>
                      <a:pt x="1379" y="2369"/>
                    </a:lnTo>
                    <a:lnTo>
                      <a:pt x="1404" y="2392"/>
                    </a:lnTo>
                    <a:lnTo>
                      <a:pt x="1379" y="2421"/>
                    </a:lnTo>
                    <a:lnTo>
                      <a:pt x="1404" y="2444"/>
                    </a:lnTo>
                    <a:lnTo>
                      <a:pt x="1404" y="2472"/>
                    </a:lnTo>
                    <a:lnTo>
                      <a:pt x="1379" y="2495"/>
                    </a:lnTo>
                    <a:lnTo>
                      <a:pt x="1352" y="2524"/>
                    </a:lnTo>
                    <a:lnTo>
                      <a:pt x="1359" y="2620"/>
                    </a:lnTo>
                    <a:lnTo>
                      <a:pt x="1379" y="2680"/>
                    </a:lnTo>
                    <a:lnTo>
                      <a:pt x="1459" y="2756"/>
                    </a:lnTo>
                    <a:lnTo>
                      <a:pt x="1459" y="2783"/>
                    </a:lnTo>
                    <a:lnTo>
                      <a:pt x="1484" y="2889"/>
                    </a:lnTo>
                    <a:lnTo>
                      <a:pt x="1563" y="2968"/>
                    </a:lnTo>
                    <a:lnTo>
                      <a:pt x="1615" y="3096"/>
                    </a:lnTo>
                    <a:lnTo>
                      <a:pt x="1615" y="3148"/>
                    </a:lnTo>
                    <a:lnTo>
                      <a:pt x="1663" y="3173"/>
                    </a:lnTo>
                    <a:lnTo>
                      <a:pt x="1720" y="3148"/>
                    </a:lnTo>
                    <a:lnTo>
                      <a:pt x="1772" y="3125"/>
                    </a:lnTo>
                    <a:lnTo>
                      <a:pt x="1795" y="3125"/>
                    </a:lnTo>
                    <a:lnTo>
                      <a:pt x="1899" y="3096"/>
                    </a:lnTo>
                    <a:lnTo>
                      <a:pt x="1928" y="3071"/>
                    </a:lnTo>
                    <a:lnTo>
                      <a:pt x="1980" y="3044"/>
                    </a:lnTo>
                    <a:lnTo>
                      <a:pt x="2031" y="3016"/>
                    </a:lnTo>
                    <a:lnTo>
                      <a:pt x="2056" y="2993"/>
                    </a:lnTo>
                    <a:lnTo>
                      <a:pt x="2083" y="2941"/>
                    </a:lnTo>
                    <a:lnTo>
                      <a:pt x="2135" y="2912"/>
                    </a:lnTo>
                    <a:lnTo>
                      <a:pt x="2135" y="2889"/>
                    </a:lnTo>
                    <a:lnTo>
                      <a:pt x="2108" y="2860"/>
                    </a:lnTo>
                    <a:lnTo>
                      <a:pt x="2083" y="2837"/>
                    </a:lnTo>
                    <a:lnTo>
                      <a:pt x="2031" y="2812"/>
                    </a:lnTo>
                    <a:lnTo>
                      <a:pt x="2003" y="2837"/>
                    </a:lnTo>
                    <a:lnTo>
                      <a:pt x="2003" y="2860"/>
                    </a:lnTo>
                    <a:lnTo>
                      <a:pt x="2003" y="2912"/>
                    </a:lnTo>
                    <a:lnTo>
                      <a:pt x="1980" y="2860"/>
                    </a:lnTo>
                    <a:lnTo>
                      <a:pt x="2031" y="2812"/>
                    </a:lnTo>
                    <a:lnTo>
                      <a:pt x="2003" y="2783"/>
                    </a:lnTo>
                    <a:lnTo>
                      <a:pt x="1980" y="2783"/>
                    </a:lnTo>
                    <a:lnTo>
                      <a:pt x="1980" y="2812"/>
                    </a:lnTo>
                    <a:lnTo>
                      <a:pt x="1899" y="2783"/>
                    </a:lnTo>
                    <a:lnTo>
                      <a:pt x="1876" y="2783"/>
                    </a:lnTo>
                    <a:lnTo>
                      <a:pt x="1847" y="2732"/>
                    </a:lnTo>
                    <a:lnTo>
                      <a:pt x="1847" y="2705"/>
                    </a:lnTo>
                    <a:lnTo>
                      <a:pt x="1795" y="2653"/>
                    </a:lnTo>
                    <a:lnTo>
                      <a:pt x="1772" y="2601"/>
                    </a:lnTo>
                    <a:lnTo>
                      <a:pt x="1795" y="2601"/>
                    </a:lnTo>
                    <a:lnTo>
                      <a:pt x="1847" y="2601"/>
                    </a:lnTo>
                    <a:lnTo>
                      <a:pt x="1876" y="2653"/>
                    </a:lnTo>
                    <a:lnTo>
                      <a:pt x="1899" y="2680"/>
                    </a:lnTo>
                    <a:lnTo>
                      <a:pt x="1951" y="2705"/>
                    </a:lnTo>
                    <a:lnTo>
                      <a:pt x="1980" y="2732"/>
                    </a:lnTo>
                    <a:lnTo>
                      <a:pt x="2056" y="2705"/>
                    </a:lnTo>
                    <a:lnTo>
                      <a:pt x="2056" y="2756"/>
                    </a:lnTo>
                    <a:lnTo>
                      <a:pt x="2160" y="2756"/>
                    </a:lnTo>
                    <a:lnTo>
                      <a:pt x="2191" y="2772"/>
                    </a:lnTo>
                    <a:lnTo>
                      <a:pt x="2187" y="2783"/>
                    </a:lnTo>
                    <a:lnTo>
                      <a:pt x="2239" y="2783"/>
                    </a:lnTo>
                    <a:lnTo>
                      <a:pt x="2344" y="2783"/>
                    </a:lnTo>
                    <a:lnTo>
                      <a:pt x="2367" y="2783"/>
                    </a:lnTo>
                    <a:lnTo>
                      <a:pt x="2396" y="2837"/>
                    </a:lnTo>
                    <a:lnTo>
                      <a:pt x="2419" y="2860"/>
                    </a:lnTo>
                    <a:lnTo>
                      <a:pt x="2471" y="2860"/>
                    </a:lnTo>
                    <a:lnTo>
                      <a:pt x="2448" y="2889"/>
                    </a:lnTo>
                    <a:lnTo>
                      <a:pt x="2471" y="2912"/>
                    </a:lnTo>
                    <a:lnTo>
                      <a:pt x="2500" y="2912"/>
                    </a:lnTo>
                    <a:lnTo>
                      <a:pt x="2523" y="2860"/>
                    </a:lnTo>
                    <a:lnTo>
                      <a:pt x="2552" y="2912"/>
                    </a:lnTo>
                    <a:lnTo>
                      <a:pt x="2552" y="3016"/>
                    </a:lnTo>
                    <a:lnTo>
                      <a:pt x="2627" y="3173"/>
                    </a:lnTo>
                    <a:lnTo>
                      <a:pt x="2655" y="3280"/>
                    </a:lnTo>
                    <a:lnTo>
                      <a:pt x="2707" y="3328"/>
                    </a:lnTo>
                    <a:lnTo>
                      <a:pt x="2759" y="3303"/>
                    </a:lnTo>
                    <a:lnTo>
                      <a:pt x="2836" y="3173"/>
                    </a:lnTo>
                    <a:lnTo>
                      <a:pt x="2863" y="3071"/>
                    </a:lnTo>
                    <a:lnTo>
                      <a:pt x="2888" y="3044"/>
                    </a:lnTo>
                    <a:lnTo>
                      <a:pt x="2991" y="2968"/>
                    </a:lnTo>
                    <a:lnTo>
                      <a:pt x="3020" y="2912"/>
                    </a:lnTo>
                    <a:lnTo>
                      <a:pt x="3043" y="2912"/>
                    </a:lnTo>
                    <a:lnTo>
                      <a:pt x="3043" y="2860"/>
                    </a:lnTo>
                    <a:lnTo>
                      <a:pt x="3043" y="2837"/>
                    </a:lnTo>
                    <a:lnTo>
                      <a:pt x="3072" y="2812"/>
                    </a:lnTo>
                    <a:lnTo>
                      <a:pt x="3095" y="2860"/>
                    </a:lnTo>
                    <a:lnTo>
                      <a:pt x="3124" y="2889"/>
                    </a:lnTo>
                    <a:lnTo>
                      <a:pt x="3147" y="2912"/>
                    </a:lnTo>
                    <a:lnTo>
                      <a:pt x="3176" y="2968"/>
                    </a:lnTo>
                    <a:lnTo>
                      <a:pt x="3199" y="2993"/>
                    </a:lnTo>
                    <a:lnTo>
                      <a:pt x="3227" y="3071"/>
                    </a:lnTo>
                    <a:lnTo>
                      <a:pt x="3251" y="3096"/>
                    </a:lnTo>
                    <a:lnTo>
                      <a:pt x="3279" y="3125"/>
                    </a:lnTo>
                    <a:lnTo>
                      <a:pt x="3304" y="3071"/>
                    </a:lnTo>
                    <a:lnTo>
                      <a:pt x="3331" y="3096"/>
                    </a:lnTo>
                    <a:lnTo>
                      <a:pt x="3331" y="3125"/>
                    </a:lnTo>
                    <a:lnTo>
                      <a:pt x="3356" y="3177"/>
                    </a:lnTo>
                    <a:lnTo>
                      <a:pt x="3356" y="3229"/>
                    </a:lnTo>
                    <a:lnTo>
                      <a:pt x="3383" y="3280"/>
                    </a:lnTo>
                    <a:lnTo>
                      <a:pt x="3383" y="3332"/>
                    </a:lnTo>
                    <a:lnTo>
                      <a:pt x="3383" y="3355"/>
                    </a:lnTo>
                    <a:lnTo>
                      <a:pt x="3408" y="3384"/>
                    </a:lnTo>
                    <a:lnTo>
                      <a:pt x="3435" y="3436"/>
                    </a:lnTo>
                    <a:lnTo>
                      <a:pt x="3408" y="3436"/>
                    </a:lnTo>
                    <a:lnTo>
                      <a:pt x="3435" y="3488"/>
                    </a:lnTo>
                    <a:lnTo>
                      <a:pt x="3460" y="3564"/>
                    </a:lnTo>
                    <a:lnTo>
                      <a:pt x="3539" y="3616"/>
                    </a:lnTo>
                    <a:lnTo>
                      <a:pt x="3539" y="3564"/>
                    </a:lnTo>
                    <a:lnTo>
                      <a:pt x="3512" y="3540"/>
                    </a:lnTo>
                    <a:lnTo>
                      <a:pt x="3512" y="3488"/>
                    </a:lnTo>
                    <a:lnTo>
                      <a:pt x="3487" y="3436"/>
                    </a:lnTo>
                    <a:lnTo>
                      <a:pt x="3460" y="3436"/>
                    </a:lnTo>
                    <a:lnTo>
                      <a:pt x="3435" y="3384"/>
                    </a:lnTo>
                    <a:lnTo>
                      <a:pt x="3408" y="3355"/>
                    </a:lnTo>
                    <a:lnTo>
                      <a:pt x="3435" y="3280"/>
                    </a:lnTo>
                    <a:lnTo>
                      <a:pt x="3435" y="3229"/>
                    </a:lnTo>
                    <a:lnTo>
                      <a:pt x="3460" y="3229"/>
                    </a:lnTo>
                    <a:lnTo>
                      <a:pt x="3487" y="3229"/>
                    </a:lnTo>
                    <a:lnTo>
                      <a:pt x="3487" y="3280"/>
                    </a:lnTo>
                    <a:lnTo>
                      <a:pt x="3512" y="3303"/>
                    </a:lnTo>
                    <a:lnTo>
                      <a:pt x="3563" y="3332"/>
                    </a:lnTo>
                    <a:lnTo>
                      <a:pt x="3563" y="3355"/>
                    </a:lnTo>
                    <a:lnTo>
                      <a:pt x="3592" y="3355"/>
                    </a:lnTo>
                    <a:lnTo>
                      <a:pt x="3667" y="3280"/>
                    </a:lnTo>
                    <a:lnTo>
                      <a:pt x="3696" y="3280"/>
                    </a:lnTo>
                    <a:lnTo>
                      <a:pt x="3696" y="3229"/>
                    </a:lnTo>
                    <a:lnTo>
                      <a:pt x="3696" y="3148"/>
                    </a:lnTo>
                    <a:lnTo>
                      <a:pt x="3667" y="3125"/>
                    </a:lnTo>
                    <a:lnTo>
                      <a:pt x="3667" y="3096"/>
                    </a:lnTo>
                    <a:lnTo>
                      <a:pt x="3615" y="3096"/>
                    </a:lnTo>
                    <a:lnTo>
                      <a:pt x="3615" y="3071"/>
                    </a:lnTo>
                    <a:lnTo>
                      <a:pt x="3592" y="3019"/>
                    </a:lnTo>
                    <a:lnTo>
                      <a:pt x="3592" y="2968"/>
                    </a:lnTo>
                    <a:lnTo>
                      <a:pt x="3615" y="2941"/>
                    </a:lnTo>
                    <a:lnTo>
                      <a:pt x="3615" y="2912"/>
                    </a:lnTo>
                    <a:lnTo>
                      <a:pt x="3667" y="2912"/>
                    </a:lnTo>
                    <a:lnTo>
                      <a:pt x="3667" y="2968"/>
                    </a:lnTo>
                    <a:lnTo>
                      <a:pt x="3719" y="2968"/>
                    </a:lnTo>
                    <a:lnTo>
                      <a:pt x="3719" y="2912"/>
                    </a:lnTo>
                    <a:lnTo>
                      <a:pt x="3771" y="2912"/>
                    </a:lnTo>
                    <a:lnTo>
                      <a:pt x="3800" y="2889"/>
                    </a:lnTo>
                    <a:lnTo>
                      <a:pt x="3823" y="2889"/>
                    </a:lnTo>
                    <a:lnTo>
                      <a:pt x="3903" y="2864"/>
                    </a:lnTo>
                    <a:lnTo>
                      <a:pt x="3955" y="2783"/>
                    </a:lnTo>
                    <a:lnTo>
                      <a:pt x="3955" y="2756"/>
                    </a:lnTo>
                    <a:lnTo>
                      <a:pt x="3980" y="2732"/>
                    </a:lnTo>
                    <a:lnTo>
                      <a:pt x="4007" y="2680"/>
                    </a:lnTo>
                    <a:lnTo>
                      <a:pt x="4032" y="2628"/>
                    </a:lnTo>
                    <a:lnTo>
                      <a:pt x="4032" y="2601"/>
                    </a:lnTo>
                    <a:lnTo>
                      <a:pt x="3980" y="2628"/>
                    </a:lnTo>
                    <a:lnTo>
                      <a:pt x="3955" y="2601"/>
                    </a:lnTo>
                    <a:lnTo>
                      <a:pt x="3980" y="2576"/>
                    </a:lnTo>
                    <a:lnTo>
                      <a:pt x="3955" y="2524"/>
                    </a:lnTo>
                    <a:lnTo>
                      <a:pt x="4007" y="2524"/>
                    </a:lnTo>
                    <a:lnTo>
                      <a:pt x="3980" y="2501"/>
                    </a:lnTo>
                    <a:lnTo>
                      <a:pt x="3955" y="2421"/>
                    </a:lnTo>
                    <a:lnTo>
                      <a:pt x="3928" y="2396"/>
                    </a:lnTo>
                    <a:lnTo>
                      <a:pt x="3980" y="2317"/>
                    </a:lnTo>
                    <a:lnTo>
                      <a:pt x="3955" y="2288"/>
                    </a:lnTo>
                    <a:lnTo>
                      <a:pt x="3928" y="2288"/>
                    </a:lnTo>
                    <a:lnTo>
                      <a:pt x="3903" y="2317"/>
                    </a:lnTo>
                    <a:lnTo>
                      <a:pt x="3875" y="2288"/>
                    </a:lnTo>
                    <a:lnTo>
                      <a:pt x="3851" y="2265"/>
                    </a:lnTo>
                    <a:lnTo>
                      <a:pt x="3851" y="2236"/>
                    </a:lnTo>
                    <a:lnTo>
                      <a:pt x="3903" y="2213"/>
                    </a:lnTo>
                    <a:lnTo>
                      <a:pt x="3955" y="2160"/>
                    </a:lnTo>
                    <a:lnTo>
                      <a:pt x="3955" y="2213"/>
                    </a:lnTo>
                    <a:lnTo>
                      <a:pt x="4007" y="2213"/>
                    </a:lnTo>
                    <a:lnTo>
                      <a:pt x="4032" y="2188"/>
                    </a:lnTo>
                    <a:lnTo>
                      <a:pt x="4072" y="2148"/>
                    </a:lnTo>
                    <a:lnTo>
                      <a:pt x="4059" y="2188"/>
                    </a:lnTo>
                    <a:lnTo>
                      <a:pt x="4084" y="2213"/>
                    </a:lnTo>
                    <a:lnTo>
                      <a:pt x="4084" y="2265"/>
                    </a:lnTo>
                    <a:lnTo>
                      <a:pt x="4111" y="2265"/>
                    </a:lnTo>
                    <a:lnTo>
                      <a:pt x="4136" y="2288"/>
                    </a:lnTo>
                    <a:lnTo>
                      <a:pt x="4162" y="2344"/>
                    </a:lnTo>
                    <a:lnTo>
                      <a:pt x="4162" y="2396"/>
                    </a:lnTo>
                    <a:lnTo>
                      <a:pt x="4216" y="2396"/>
                    </a:lnTo>
                    <a:lnTo>
                      <a:pt x="4216" y="2344"/>
                    </a:lnTo>
                    <a:lnTo>
                      <a:pt x="4187" y="2288"/>
                    </a:lnTo>
                    <a:lnTo>
                      <a:pt x="4162" y="2236"/>
                    </a:lnTo>
                    <a:lnTo>
                      <a:pt x="4136" y="2213"/>
                    </a:lnTo>
                    <a:lnTo>
                      <a:pt x="4162" y="2188"/>
                    </a:lnTo>
                    <a:lnTo>
                      <a:pt x="4187" y="2133"/>
                    </a:lnTo>
                    <a:lnTo>
                      <a:pt x="4187" y="2081"/>
                    </a:lnTo>
                    <a:lnTo>
                      <a:pt x="4216" y="2033"/>
                    </a:lnTo>
                    <a:lnTo>
                      <a:pt x="4228" y="2016"/>
                    </a:lnTo>
                    <a:lnTo>
                      <a:pt x="4239" y="2033"/>
                    </a:lnTo>
                    <a:lnTo>
                      <a:pt x="4268" y="2056"/>
                    </a:lnTo>
                    <a:lnTo>
                      <a:pt x="4291" y="2033"/>
                    </a:lnTo>
                    <a:lnTo>
                      <a:pt x="4395" y="1901"/>
                    </a:lnTo>
                    <a:lnTo>
                      <a:pt x="4424" y="1561"/>
                    </a:lnTo>
                    <a:lnTo>
                      <a:pt x="4395" y="1536"/>
                    </a:lnTo>
                    <a:lnTo>
                      <a:pt x="4395" y="1457"/>
                    </a:lnTo>
                    <a:lnTo>
                      <a:pt x="4347" y="1457"/>
                    </a:lnTo>
                    <a:lnTo>
                      <a:pt x="4239" y="1484"/>
                    </a:lnTo>
                    <a:lnTo>
                      <a:pt x="4239" y="1432"/>
                    </a:lnTo>
                    <a:lnTo>
                      <a:pt x="4187" y="1405"/>
                    </a:lnTo>
                    <a:lnTo>
                      <a:pt x="4239" y="1248"/>
                    </a:lnTo>
                    <a:lnTo>
                      <a:pt x="4239" y="1173"/>
                    </a:lnTo>
                    <a:lnTo>
                      <a:pt x="4291" y="1121"/>
                    </a:lnTo>
                    <a:lnTo>
                      <a:pt x="4395" y="1093"/>
                    </a:lnTo>
                    <a:lnTo>
                      <a:pt x="4447" y="1069"/>
                    </a:lnTo>
                    <a:lnTo>
                      <a:pt x="4527" y="1041"/>
                    </a:lnTo>
                    <a:lnTo>
                      <a:pt x="4504" y="1093"/>
                    </a:lnTo>
                    <a:lnTo>
                      <a:pt x="4552" y="1069"/>
                    </a:lnTo>
                    <a:lnTo>
                      <a:pt x="4604" y="1041"/>
                    </a:lnTo>
                    <a:lnTo>
                      <a:pt x="4579" y="1018"/>
                    </a:lnTo>
                    <a:lnTo>
                      <a:pt x="4604" y="885"/>
                    </a:lnTo>
                    <a:lnTo>
                      <a:pt x="4660" y="860"/>
                    </a:lnTo>
                    <a:lnTo>
                      <a:pt x="4683" y="912"/>
                    </a:lnTo>
                    <a:lnTo>
                      <a:pt x="4735" y="808"/>
                    </a:lnTo>
                    <a:lnTo>
                      <a:pt x="4760" y="885"/>
                    </a:lnTo>
                    <a:lnTo>
                      <a:pt x="4786" y="912"/>
                    </a:lnTo>
                    <a:lnTo>
                      <a:pt x="4760" y="966"/>
                    </a:lnTo>
                    <a:lnTo>
                      <a:pt x="4735" y="1093"/>
                    </a:lnTo>
                    <a:lnTo>
                      <a:pt x="4712" y="1144"/>
                    </a:lnTo>
                    <a:lnTo>
                      <a:pt x="4712" y="1248"/>
                    </a:lnTo>
                    <a:lnTo>
                      <a:pt x="4760" y="1432"/>
                    </a:lnTo>
                    <a:lnTo>
                      <a:pt x="4815" y="1457"/>
                    </a:lnTo>
                    <a:lnTo>
                      <a:pt x="4840" y="1561"/>
                    </a:lnTo>
                    <a:lnTo>
                      <a:pt x="4892" y="1457"/>
                    </a:lnTo>
                    <a:lnTo>
                      <a:pt x="4892" y="1405"/>
                    </a:lnTo>
                    <a:lnTo>
                      <a:pt x="4919" y="1405"/>
                    </a:lnTo>
                    <a:lnTo>
                      <a:pt x="4892" y="1354"/>
                    </a:lnTo>
                    <a:lnTo>
                      <a:pt x="4919" y="1302"/>
                    </a:lnTo>
                    <a:lnTo>
                      <a:pt x="4867" y="1248"/>
                    </a:lnTo>
                    <a:lnTo>
                      <a:pt x="4892" y="1196"/>
                    </a:lnTo>
                    <a:lnTo>
                      <a:pt x="4867" y="1093"/>
                    </a:lnTo>
                    <a:lnTo>
                      <a:pt x="4840" y="1121"/>
                    </a:lnTo>
                    <a:lnTo>
                      <a:pt x="4815" y="989"/>
                    </a:lnTo>
                    <a:lnTo>
                      <a:pt x="4815" y="966"/>
                    </a:lnTo>
                    <a:lnTo>
                      <a:pt x="4892" y="912"/>
                    </a:lnTo>
                    <a:lnTo>
                      <a:pt x="4944" y="885"/>
                    </a:lnTo>
                    <a:lnTo>
                      <a:pt x="4996" y="966"/>
                    </a:lnTo>
                    <a:lnTo>
                      <a:pt x="5023" y="730"/>
                    </a:lnTo>
                    <a:lnTo>
                      <a:pt x="5128" y="678"/>
                    </a:lnTo>
                    <a:lnTo>
                      <a:pt x="5074" y="653"/>
                    </a:lnTo>
                    <a:lnTo>
                      <a:pt x="5074" y="624"/>
                    </a:lnTo>
                    <a:lnTo>
                      <a:pt x="5023" y="624"/>
                    </a:lnTo>
                    <a:lnTo>
                      <a:pt x="4971" y="572"/>
                    </a:lnTo>
                    <a:lnTo>
                      <a:pt x="4919" y="521"/>
                    </a:lnTo>
                    <a:lnTo>
                      <a:pt x="4971" y="521"/>
                    </a:lnTo>
                    <a:lnTo>
                      <a:pt x="5048" y="498"/>
                    </a:lnTo>
                    <a:lnTo>
                      <a:pt x="4996" y="469"/>
                    </a:lnTo>
                    <a:lnTo>
                      <a:pt x="4996" y="394"/>
                    </a:lnTo>
                    <a:lnTo>
                      <a:pt x="5023" y="417"/>
                    </a:lnTo>
                    <a:lnTo>
                      <a:pt x="5128" y="446"/>
                    </a:lnTo>
                    <a:lnTo>
                      <a:pt x="5180" y="469"/>
                    </a:lnTo>
                    <a:lnTo>
                      <a:pt x="5255" y="469"/>
                    </a:lnTo>
                    <a:lnTo>
                      <a:pt x="5307" y="417"/>
                    </a:lnTo>
                    <a:lnTo>
                      <a:pt x="5203" y="394"/>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2" name="Freeform 77">
                <a:extLst>
                  <a:ext uri="{FF2B5EF4-FFF2-40B4-BE49-F238E27FC236}">
                    <a16:creationId xmlns:a16="http://schemas.microsoft.com/office/drawing/2014/main" id="{5131CCD4-34C7-4A3C-8661-3374BE1950DF}"/>
                  </a:ext>
                </a:extLst>
              </p:cNvPr>
              <p:cNvSpPr>
                <a:spLocks/>
              </p:cNvSpPr>
              <p:nvPr/>
            </p:nvSpPr>
            <p:spPr bwMode="gray">
              <a:xfrm>
                <a:off x="2747" y="1903"/>
                <a:ext cx="40" cy="38"/>
              </a:xfrm>
              <a:custGeom>
                <a:avLst/>
                <a:gdLst>
                  <a:gd name="T0" fmla="*/ 0 w 81"/>
                  <a:gd name="T1" fmla="*/ 52 h 75"/>
                  <a:gd name="T2" fmla="*/ 29 w 81"/>
                  <a:gd name="T3" fmla="*/ 75 h 75"/>
                  <a:gd name="T4" fmla="*/ 81 w 81"/>
                  <a:gd name="T5" fmla="*/ 75 h 75"/>
                  <a:gd name="T6" fmla="*/ 81 w 81"/>
                  <a:gd name="T7" fmla="*/ 52 h 75"/>
                  <a:gd name="T8" fmla="*/ 52 w 81"/>
                  <a:gd name="T9" fmla="*/ 23 h 75"/>
                  <a:gd name="T10" fmla="*/ 0 w 81"/>
                  <a:gd name="T11" fmla="*/ 0 h 75"/>
                  <a:gd name="T12" fmla="*/ 0 w 81"/>
                  <a:gd name="T13" fmla="*/ 52 h 75"/>
                </a:gdLst>
                <a:ahLst/>
                <a:cxnLst>
                  <a:cxn ang="0">
                    <a:pos x="T0" y="T1"/>
                  </a:cxn>
                  <a:cxn ang="0">
                    <a:pos x="T2" y="T3"/>
                  </a:cxn>
                  <a:cxn ang="0">
                    <a:pos x="T4" y="T5"/>
                  </a:cxn>
                  <a:cxn ang="0">
                    <a:pos x="T6" y="T7"/>
                  </a:cxn>
                  <a:cxn ang="0">
                    <a:pos x="T8" y="T9"/>
                  </a:cxn>
                  <a:cxn ang="0">
                    <a:pos x="T10" y="T11"/>
                  </a:cxn>
                  <a:cxn ang="0">
                    <a:pos x="T12" y="T13"/>
                  </a:cxn>
                </a:cxnLst>
                <a:rect l="0" t="0" r="r" b="b"/>
                <a:pathLst>
                  <a:path w="81" h="75">
                    <a:moveTo>
                      <a:pt x="0" y="52"/>
                    </a:moveTo>
                    <a:lnTo>
                      <a:pt x="29" y="75"/>
                    </a:lnTo>
                    <a:lnTo>
                      <a:pt x="81" y="75"/>
                    </a:lnTo>
                    <a:lnTo>
                      <a:pt x="81" y="52"/>
                    </a:lnTo>
                    <a:lnTo>
                      <a:pt x="52" y="23"/>
                    </a:lnTo>
                    <a:lnTo>
                      <a:pt x="0" y="0"/>
                    </a:lnTo>
                    <a:lnTo>
                      <a:pt x="0"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3" name="Freeform 78">
                <a:extLst>
                  <a:ext uri="{FF2B5EF4-FFF2-40B4-BE49-F238E27FC236}">
                    <a16:creationId xmlns:a16="http://schemas.microsoft.com/office/drawing/2014/main" id="{0F1C3A17-DE12-4197-A902-A4864A2F80C9}"/>
                  </a:ext>
                </a:extLst>
              </p:cNvPr>
              <p:cNvSpPr>
                <a:spLocks/>
              </p:cNvSpPr>
              <p:nvPr/>
            </p:nvSpPr>
            <p:spPr bwMode="gray">
              <a:xfrm>
                <a:off x="2540" y="1811"/>
                <a:ext cx="26" cy="26"/>
              </a:xfrm>
              <a:custGeom>
                <a:avLst/>
                <a:gdLst>
                  <a:gd name="T0" fmla="*/ 27 w 52"/>
                  <a:gd name="T1" fmla="*/ 52 h 52"/>
                  <a:gd name="T2" fmla="*/ 52 w 52"/>
                  <a:gd name="T3" fmla="*/ 52 h 52"/>
                  <a:gd name="T4" fmla="*/ 52 w 52"/>
                  <a:gd name="T5" fmla="*/ 27 h 52"/>
                  <a:gd name="T6" fmla="*/ 52 w 52"/>
                  <a:gd name="T7" fmla="*/ 0 h 52"/>
                  <a:gd name="T8" fmla="*/ 0 w 52"/>
                  <a:gd name="T9" fmla="*/ 27 h 52"/>
                  <a:gd name="T10" fmla="*/ 27 w 52"/>
                  <a:gd name="T11" fmla="*/ 52 h 52"/>
                </a:gdLst>
                <a:ahLst/>
                <a:cxnLst>
                  <a:cxn ang="0">
                    <a:pos x="T0" y="T1"/>
                  </a:cxn>
                  <a:cxn ang="0">
                    <a:pos x="T2" y="T3"/>
                  </a:cxn>
                  <a:cxn ang="0">
                    <a:pos x="T4" y="T5"/>
                  </a:cxn>
                  <a:cxn ang="0">
                    <a:pos x="T6" y="T7"/>
                  </a:cxn>
                  <a:cxn ang="0">
                    <a:pos x="T8" y="T9"/>
                  </a:cxn>
                  <a:cxn ang="0">
                    <a:pos x="T10" y="T11"/>
                  </a:cxn>
                </a:cxnLst>
                <a:rect l="0" t="0" r="r" b="b"/>
                <a:pathLst>
                  <a:path w="52" h="52">
                    <a:moveTo>
                      <a:pt x="27" y="52"/>
                    </a:moveTo>
                    <a:lnTo>
                      <a:pt x="52" y="52"/>
                    </a:lnTo>
                    <a:lnTo>
                      <a:pt x="52" y="27"/>
                    </a:lnTo>
                    <a:lnTo>
                      <a:pt x="52" y="0"/>
                    </a:lnTo>
                    <a:lnTo>
                      <a:pt x="0" y="27"/>
                    </a:lnTo>
                    <a:lnTo>
                      <a:pt x="27" y="5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4" name="Freeform 79">
                <a:extLst>
                  <a:ext uri="{FF2B5EF4-FFF2-40B4-BE49-F238E27FC236}">
                    <a16:creationId xmlns:a16="http://schemas.microsoft.com/office/drawing/2014/main" id="{CC6BDCE0-9428-4F26-B6F5-7CE7DCC25278}"/>
                  </a:ext>
                </a:extLst>
              </p:cNvPr>
              <p:cNvSpPr>
                <a:spLocks/>
              </p:cNvSpPr>
              <p:nvPr/>
            </p:nvSpPr>
            <p:spPr bwMode="gray">
              <a:xfrm>
                <a:off x="4908" y="3489"/>
                <a:ext cx="156" cy="130"/>
              </a:xfrm>
              <a:custGeom>
                <a:avLst/>
                <a:gdLst>
                  <a:gd name="T0" fmla="*/ 40 w 156"/>
                  <a:gd name="T1" fmla="*/ 118 h 130"/>
                  <a:gd name="T2" fmla="*/ 26 w 156"/>
                  <a:gd name="T3" fmla="*/ 118 h 130"/>
                  <a:gd name="T4" fmla="*/ 14 w 156"/>
                  <a:gd name="T5" fmla="*/ 104 h 130"/>
                  <a:gd name="T6" fmla="*/ 0 w 156"/>
                  <a:gd name="T7" fmla="*/ 104 h 130"/>
                  <a:gd name="T8" fmla="*/ 0 w 156"/>
                  <a:gd name="T9" fmla="*/ 92 h 130"/>
                  <a:gd name="T10" fmla="*/ 26 w 156"/>
                  <a:gd name="T11" fmla="*/ 78 h 130"/>
                  <a:gd name="T12" fmla="*/ 26 w 156"/>
                  <a:gd name="T13" fmla="*/ 66 h 130"/>
                  <a:gd name="T14" fmla="*/ 52 w 156"/>
                  <a:gd name="T15" fmla="*/ 66 h 130"/>
                  <a:gd name="T16" fmla="*/ 78 w 156"/>
                  <a:gd name="T17" fmla="*/ 52 h 130"/>
                  <a:gd name="T18" fmla="*/ 78 w 156"/>
                  <a:gd name="T19" fmla="*/ 40 h 130"/>
                  <a:gd name="T20" fmla="*/ 92 w 156"/>
                  <a:gd name="T21" fmla="*/ 26 h 130"/>
                  <a:gd name="T22" fmla="*/ 130 w 156"/>
                  <a:gd name="T23" fmla="*/ 14 h 130"/>
                  <a:gd name="T24" fmla="*/ 130 w 156"/>
                  <a:gd name="T25" fmla="*/ 0 h 130"/>
                  <a:gd name="T26" fmla="*/ 144 w 156"/>
                  <a:gd name="T27" fmla="*/ 0 h 130"/>
                  <a:gd name="T28" fmla="*/ 144 w 156"/>
                  <a:gd name="T29" fmla="*/ 26 h 130"/>
                  <a:gd name="T30" fmla="*/ 156 w 156"/>
                  <a:gd name="T31" fmla="*/ 26 h 130"/>
                  <a:gd name="T32" fmla="*/ 144 w 156"/>
                  <a:gd name="T33" fmla="*/ 52 h 130"/>
                  <a:gd name="T34" fmla="*/ 130 w 156"/>
                  <a:gd name="T35" fmla="*/ 52 h 130"/>
                  <a:gd name="T36" fmla="*/ 118 w 156"/>
                  <a:gd name="T37" fmla="*/ 66 h 130"/>
                  <a:gd name="T38" fmla="*/ 104 w 156"/>
                  <a:gd name="T39" fmla="*/ 78 h 130"/>
                  <a:gd name="T40" fmla="*/ 92 w 156"/>
                  <a:gd name="T41" fmla="*/ 66 h 130"/>
                  <a:gd name="T42" fmla="*/ 92 w 156"/>
                  <a:gd name="T43" fmla="*/ 78 h 130"/>
                  <a:gd name="T44" fmla="*/ 78 w 156"/>
                  <a:gd name="T45" fmla="*/ 92 h 130"/>
                  <a:gd name="T46" fmla="*/ 78 w 156"/>
                  <a:gd name="T47" fmla="*/ 104 h 130"/>
                  <a:gd name="T48" fmla="*/ 66 w 156"/>
                  <a:gd name="T49" fmla="*/ 118 h 130"/>
                  <a:gd name="T50" fmla="*/ 52 w 156"/>
                  <a:gd name="T51" fmla="*/ 118 h 130"/>
                  <a:gd name="T52" fmla="*/ 52 w 156"/>
                  <a:gd name="T53" fmla="*/ 130 h 130"/>
                  <a:gd name="T54" fmla="*/ 40 w 156"/>
                  <a:gd name="T55" fmla="*/ 118 h 130"/>
                  <a:gd name="T56" fmla="*/ 40 w 156"/>
                  <a:gd name="T57" fmla="*/ 11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6" h="130">
                    <a:moveTo>
                      <a:pt x="40" y="118"/>
                    </a:moveTo>
                    <a:lnTo>
                      <a:pt x="26" y="118"/>
                    </a:lnTo>
                    <a:lnTo>
                      <a:pt x="14" y="104"/>
                    </a:lnTo>
                    <a:lnTo>
                      <a:pt x="0" y="104"/>
                    </a:lnTo>
                    <a:lnTo>
                      <a:pt x="0" y="92"/>
                    </a:lnTo>
                    <a:lnTo>
                      <a:pt x="26" y="78"/>
                    </a:lnTo>
                    <a:lnTo>
                      <a:pt x="26" y="66"/>
                    </a:lnTo>
                    <a:lnTo>
                      <a:pt x="52" y="66"/>
                    </a:lnTo>
                    <a:lnTo>
                      <a:pt x="78" y="52"/>
                    </a:lnTo>
                    <a:lnTo>
                      <a:pt x="78" y="40"/>
                    </a:lnTo>
                    <a:lnTo>
                      <a:pt x="92" y="26"/>
                    </a:lnTo>
                    <a:lnTo>
                      <a:pt x="130" y="14"/>
                    </a:lnTo>
                    <a:lnTo>
                      <a:pt x="130" y="0"/>
                    </a:lnTo>
                    <a:lnTo>
                      <a:pt x="144" y="0"/>
                    </a:lnTo>
                    <a:lnTo>
                      <a:pt x="144" y="26"/>
                    </a:lnTo>
                    <a:lnTo>
                      <a:pt x="156" y="26"/>
                    </a:lnTo>
                    <a:lnTo>
                      <a:pt x="144" y="52"/>
                    </a:lnTo>
                    <a:lnTo>
                      <a:pt x="130" y="52"/>
                    </a:lnTo>
                    <a:lnTo>
                      <a:pt x="118" y="66"/>
                    </a:lnTo>
                    <a:lnTo>
                      <a:pt x="104" y="78"/>
                    </a:lnTo>
                    <a:lnTo>
                      <a:pt x="92" y="66"/>
                    </a:lnTo>
                    <a:lnTo>
                      <a:pt x="92" y="78"/>
                    </a:lnTo>
                    <a:lnTo>
                      <a:pt x="78" y="92"/>
                    </a:lnTo>
                    <a:lnTo>
                      <a:pt x="78" y="104"/>
                    </a:lnTo>
                    <a:lnTo>
                      <a:pt x="66" y="118"/>
                    </a:lnTo>
                    <a:lnTo>
                      <a:pt x="52" y="118"/>
                    </a:lnTo>
                    <a:lnTo>
                      <a:pt x="52" y="130"/>
                    </a:lnTo>
                    <a:lnTo>
                      <a:pt x="40" y="118"/>
                    </a:lnTo>
                    <a:lnTo>
                      <a:pt x="40" y="118"/>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5" name="Freeform 80">
                <a:extLst>
                  <a:ext uri="{FF2B5EF4-FFF2-40B4-BE49-F238E27FC236}">
                    <a16:creationId xmlns:a16="http://schemas.microsoft.com/office/drawing/2014/main" id="{BC2D2BD8-CBF6-46B8-A66C-3B7284B48AD2}"/>
                  </a:ext>
                </a:extLst>
              </p:cNvPr>
              <p:cNvSpPr>
                <a:spLocks/>
              </p:cNvSpPr>
              <p:nvPr/>
            </p:nvSpPr>
            <p:spPr bwMode="gray">
              <a:xfrm>
                <a:off x="5064" y="3385"/>
                <a:ext cx="66" cy="130"/>
              </a:xfrm>
              <a:custGeom>
                <a:avLst/>
                <a:gdLst>
                  <a:gd name="T0" fmla="*/ 0 w 66"/>
                  <a:gd name="T1" fmla="*/ 130 h 130"/>
                  <a:gd name="T2" fmla="*/ 0 w 66"/>
                  <a:gd name="T3" fmla="*/ 118 h 130"/>
                  <a:gd name="T4" fmla="*/ 0 w 66"/>
                  <a:gd name="T5" fmla="*/ 104 h 130"/>
                  <a:gd name="T6" fmla="*/ 14 w 66"/>
                  <a:gd name="T7" fmla="*/ 92 h 130"/>
                  <a:gd name="T8" fmla="*/ 26 w 66"/>
                  <a:gd name="T9" fmla="*/ 78 h 130"/>
                  <a:gd name="T10" fmla="*/ 26 w 66"/>
                  <a:gd name="T11" fmla="*/ 66 h 130"/>
                  <a:gd name="T12" fmla="*/ 26 w 66"/>
                  <a:gd name="T13" fmla="*/ 40 h 130"/>
                  <a:gd name="T14" fmla="*/ 26 w 66"/>
                  <a:gd name="T15" fmla="*/ 26 h 130"/>
                  <a:gd name="T16" fmla="*/ 14 w 66"/>
                  <a:gd name="T17" fmla="*/ 0 h 130"/>
                  <a:gd name="T18" fmla="*/ 26 w 66"/>
                  <a:gd name="T19" fmla="*/ 26 h 130"/>
                  <a:gd name="T20" fmla="*/ 40 w 66"/>
                  <a:gd name="T21" fmla="*/ 52 h 130"/>
                  <a:gd name="T22" fmla="*/ 52 w 66"/>
                  <a:gd name="T23" fmla="*/ 66 h 130"/>
                  <a:gd name="T24" fmla="*/ 66 w 66"/>
                  <a:gd name="T25" fmla="*/ 78 h 130"/>
                  <a:gd name="T26" fmla="*/ 66 w 66"/>
                  <a:gd name="T27" fmla="*/ 66 h 130"/>
                  <a:gd name="T28" fmla="*/ 66 w 66"/>
                  <a:gd name="T29" fmla="*/ 78 h 130"/>
                  <a:gd name="T30" fmla="*/ 66 w 66"/>
                  <a:gd name="T31" fmla="*/ 92 h 130"/>
                  <a:gd name="T32" fmla="*/ 52 w 66"/>
                  <a:gd name="T33" fmla="*/ 104 h 130"/>
                  <a:gd name="T34" fmla="*/ 40 w 66"/>
                  <a:gd name="T35" fmla="*/ 118 h 130"/>
                  <a:gd name="T36" fmla="*/ 26 w 66"/>
                  <a:gd name="T37" fmla="*/ 130 h 130"/>
                  <a:gd name="T38" fmla="*/ 14 w 66"/>
                  <a:gd name="T39" fmla="*/ 130 h 130"/>
                  <a:gd name="T40" fmla="*/ 0 w 66"/>
                  <a:gd name="T41" fmla="*/ 130 h 130"/>
                  <a:gd name="T42" fmla="*/ 0 w 66"/>
                  <a:gd name="T4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130">
                    <a:moveTo>
                      <a:pt x="0" y="130"/>
                    </a:moveTo>
                    <a:lnTo>
                      <a:pt x="0" y="118"/>
                    </a:lnTo>
                    <a:lnTo>
                      <a:pt x="0" y="104"/>
                    </a:lnTo>
                    <a:lnTo>
                      <a:pt x="14" y="92"/>
                    </a:lnTo>
                    <a:lnTo>
                      <a:pt x="26" y="78"/>
                    </a:lnTo>
                    <a:lnTo>
                      <a:pt x="26" y="66"/>
                    </a:lnTo>
                    <a:lnTo>
                      <a:pt x="26" y="40"/>
                    </a:lnTo>
                    <a:lnTo>
                      <a:pt x="26" y="26"/>
                    </a:lnTo>
                    <a:lnTo>
                      <a:pt x="14" y="0"/>
                    </a:lnTo>
                    <a:lnTo>
                      <a:pt x="26" y="26"/>
                    </a:lnTo>
                    <a:lnTo>
                      <a:pt x="40" y="52"/>
                    </a:lnTo>
                    <a:lnTo>
                      <a:pt x="52" y="66"/>
                    </a:lnTo>
                    <a:lnTo>
                      <a:pt x="66" y="78"/>
                    </a:lnTo>
                    <a:lnTo>
                      <a:pt x="66" y="66"/>
                    </a:lnTo>
                    <a:lnTo>
                      <a:pt x="66" y="78"/>
                    </a:lnTo>
                    <a:lnTo>
                      <a:pt x="66" y="92"/>
                    </a:lnTo>
                    <a:lnTo>
                      <a:pt x="52" y="104"/>
                    </a:lnTo>
                    <a:lnTo>
                      <a:pt x="40" y="118"/>
                    </a:lnTo>
                    <a:lnTo>
                      <a:pt x="26" y="130"/>
                    </a:lnTo>
                    <a:lnTo>
                      <a:pt x="14" y="130"/>
                    </a:lnTo>
                    <a:lnTo>
                      <a:pt x="0" y="130"/>
                    </a:lnTo>
                    <a:lnTo>
                      <a:pt x="0" y="13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6" name="Freeform 81">
                <a:extLst>
                  <a:ext uri="{FF2B5EF4-FFF2-40B4-BE49-F238E27FC236}">
                    <a16:creationId xmlns:a16="http://schemas.microsoft.com/office/drawing/2014/main" id="{7FBF5FE5-F28E-4F68-A813-3A929DD581A2}"/>
                  </a:ext>
                </a:extLst>
              </p:cNvPr>
              <p:cNvSpPr>
                <a:spLocks/>
              </p:cNvSpPr>
              <p:nvPr/>
            </p:nvSpPr>
            <p:spPr bwMode="gray">
              <a:xfrm>
                <a:off x="4765" y="2786"/>
                <a:ext cx="79" cy="27"/>
              </a:xfrm>
              <a:custGeom>
                <a:avLst/>
                <a:gdLst>
                  <a:gd name="T0" fmla="*/ 128 w 157"/>
                  <a:gd name="T1" fmla="*/ 0 h 53"/>
                  <a:gd name="T2" fmla="*/ 103 w 157"/>
                  <a:gd name="T3" fmla="*/ 0 h 53"/>
                  <a:gd name="T4" fmla="*/ 76 w 157"/>
                  <a:gd name="T5" fmla="*/ 29 h 53"/>
                  <a:gd name="T6" fmla="*/ 51 w 157"/>
                  <a:gd name="T7" fmla="*/ 29 h 53"/>
                  <a:gd name="T8" fmla="*/ 51 w 157"/>
                  <a:gd name="T9" fmla="*/ 0 h 53"/>
                  <a:gd name="T10" fmla="*/ 25 w 157"/>
                  <a:gd name="T11" fmla="*/ 0 h 53"/>
                  <a:gd name="T12" fmla="*/ 0 w 157"/>
                  <a:gd name="T13" fmla="*/ 0 h 53"/>
                  <a:gd name="T14" fmla="*/ 0 w 157"/>
                  <a:gd name="T15" fmla="*/ 29 h 53"/>
                  <a:gd name="T16" fmla="*/ 25 w 157"/>
                  <a:gd name="T17" fmla="*/ 53 h 53"/>
                  <a:gd name="T18" fmla="*/ 51 w 157"/>
                  <a:gd name="T19" fmla="*/ 53 h 53"/>
                  <a:gd name="T20" fmla="*/ 76 w 157"/>
                  <a:gd name="T21" fmla="*/ 53 h 53"/>
                  <a:gd name="T22" fmla="*/ 103 w 157"/>
                  <a:gd name="T23" fmla="*/ 53 h 53"/>
                  <a:gd name="T24" fmla="*/ 128 w 157"/>
                  <a:gd name="T25" fmla="*/ 53 h 53"/>
                  <a:gd name="T26" fmla="*/ 157 w 157"/>
                  <a:gd name="T27" fmla="*/ 29 h 53"/>
                  <a:gd name="T28" fmla="*/ 128 w 157"/>
                  <a:gd name="T2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53">
                    <a:moveTo>
                      <a:pt x="128" y="0"/>
                    </a:moveTo>
                    <a:lnTo>
                      <a:pt x="103" y="0"/>
                    </a:lnTo>
                    <a:lnTo>
                      <a:pt x="76" y="29"/>
                    </a:lnTo>
                    <a:lnTo>
                      <a:pt x="51" y="29"/>
                    </a:lnTo>
                    <a:lnTo>
                      <a:pt x="51" y="0"/>
                    </a:lnTo>
                    <a:lnTo>
                      <a:pt x="25" y="0"/>
                    </a:lnTo>
                    <a:lnTo>
                      <a:pt x="0" y="0"/>
                    </a:lnTo>
                    <a:lnTo>
                      <a:pt x="0" y="29"/>
                    </a:lnTo>
                    <a:lnTo>
                      <a:pt x="25" y="53"/>
                    </a:lnTo>
                    <a:lnTo>
                      <a:pt x="51" y="53"/>
                    </a:lnTo>
                    <a:lnTo>
                      <a:pt x="76" y="53"/>
                    </a:lnTo>
                    <a:lnTo>
                      <a:pt x="103" y="53"/>
                    </a:lnTo>
                    <a:lnTo>
                      <a:pt x="128" y="53"/>
                    </a:lnTo>
                    <a:lnTo>
                      <a:pt x="157" y="29"/>
                    </a:lnTo>
                    <a:lnTo>
                      <a:pt x="128" y="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7" name="Freeform 82">
                <a:extLst>
                  <a:ext uri="{FF2B5EF4-FFF2-40B4-BE49-F238E27FC236}">
                    <a16:creationId xmlns:a16="http://schemas.microsoft.com/office/drawing/2014/main" id="{A307CC20-0452-4185-B6E5-33A7B0E9FF97}"/>
                  </a:ext>
                </a:extLst>
              </p:cNvPr>
              <p:cNvSpPr>
                <a:spLocks/>
              </p:cNvSpPr>
              <p:nvPr/>
            </p:nvSpPr>
            <p:spPr bwMode="gray">
              <a:xfrm>
                <a:off x="4804" y="2760"/>
                <a:ext cx="25" cy="26"/>
              </a:xfrm>
              <a:custGeom>
                <a:avLst/>
                <a:gdLst>
                  <a:gd name="T0" fmla="*/ 52 w 52"/>
                  <a:gd name="T1" fmla="*/ 0 h 52"/>
                  <a:gd name="T2" fmla="*/ 0 w 52"/>
                  <a:gd name="T3" fmla="*/ 0 h 52"/>
                  <a:gd name="T4" fmla="*/ 27 w 52"/>
                  <a:gd name="T5" fmla="*/ 29 h 52"/>
                  <a:gd name="T6" fmla="*/ 52 w 52"/>
                  <a:gd name="T7" fmla="*/ 52 h 52"/>
                  <a:gd name="T8" fmla="*/ 52 w 52"/>
                  <a:gd name="T9" fmla="*/ 29 h 52"/>
                  <a:gd name="T10" fmla="*/ 52 w 52"/>
                  <a:gd name="T11" fmla="*/ 0 h 52"/>
                </a:gdLst>
                <a:ahLst/>
                <a:cxnLst>
                  <a:cxn ang="0">
                    <a:pos x="T0" y="T1"/>
                  </a:cxn>
                  <a:cxn ang="0">
                    <a:pos x="T2" y="T3"/>
                  </a:cxn>
                  <a:cxn ang="0">
                    <a:pos x="T4" y="T5"/>
                  </a:cxn>
                  <a:cxn ang="0">
                    <a:pos x="T6" y="T7"/>
                  </a:cxn>
                  <a:cxn ang="0">
                    <a:pos x="T8" y="T9"/>
                  </a:cxn>
                  <a:cxn ang="0">
                    <a:pos x="T10" y="T11"/>
                  </a:cxn>
                </a:cxnLst>
                <a:rect l="0" t="0" r="r" b="b"/>
                <a:pathLst>
                  <a:path w="52" h="52">
                    <a:moveTo>
                      <a:pt x="52" y="0"/>
                    </a:moveTo>
                    <a:lnTo>
                      <a:pt x="0" y="0"/>
                    </a:lnTo>
                    <a:lnTo>
                      <a:pt x="27" y="29"/>
                    </a:lnTo>
                    <a:lnTo>
                      <a:pt x="52" y="52"/>
                    </a:lnTo>
                    <a:lnTo>
                      <a:pt x="52" y="29"/>
                    </a:lnTo>
                    <a:lnTo>
                      <a:pt x="52"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8" name="Freeform 83">
                <a:extLst>
                  <a:ext uri="{FF2B5EF4-FFF2-40B4-BE49-F238E27FC236}">
                    <a16:creationId xmlns:a16="http://schemas.microsoft.com/office/drawing/2014/main" id="{FF807612-CD5D-446D-A98D-659B0132DA1B}"/>
                  </a:ext>
                </a:extLst>
              </p:cNvPr>
              <p:cNvSpPr>
                <a:spLocks/>
              </p:cNvSpPr>
              <p:nvPr/>
            </p:nvSpPr>
            <p:spPr bwMode="gray">
              <a:xfrm>
                <a:off x="4570" y="2800"/>
                <a:ext cx="26" cy="26"/>
              </a:xfrm>
              <a:custGeom>
                <a:avLst/>
                <a:gdLst>
                  <a:gd name="T0" fmla="*/ 0 w 52"/>
                  <a:gd name="T1" fmla="*/ 0 h 51"/>
                  <a:gd name="T2" fmla="*/ 0 w 52"/>
                  <a:gd name="T3" fmla="*/ 24 h 51"/>
                  <a:gd name="T4" fmla="*/ 25 w 52"/>
                  <a:gd name="T5" fmla="*/ 51 h 51"/>
                  <a:gd name="T6" fmla="*/ 52 w 52"/>
                  <a:gd name="T7" fmla="*/ 24 h 51"/>
                  <a:gd name="T8" fmla="*/ 25 w 52"/>
                  <a:gd name="T9" fmla="*/ 0 h 51"/>
                  <a:gd name="T10" fmla="*/ 0 w 52"/>
                  <a:gd name="T11" fmla="*/ 0 h 51"/>
                </a:gdLst>
                <a:ahLst/>
                <a:cxnLst>
                  <a:cxn ang="0">
                    <a:pos x="T0" y="T1"/>
                  </a:cxn>
                  <a:cxn ang="0">
                    <a:pos x="T2" y="T3"/>
                  </a:cxn>
                  <a:cxn ang="0">
                    <a:pos x="T4" y="T5"/>
                  </a:cxn>
                  <a:cxn ang="0">
                    <a:pos x="T6" y="T7"/>
                  </a:cxn>
                  <a:cxn ang="0">
                    <a:pos x="T8" y="T9"/>
                  </a:cxn>
                  <a:cxn ang="0">
                    <a:pos x="T10" y="T11"/>
                  </a:cxn>
                </a:cxnLst>
                <a:rect l="0" t="0" r="r" b="b"/>
                <a:pathLst>
                  <a:path w="52" h="51">
                    <a:moveTo>
                      <a:pt x="0" y="0"/>
                    </a:moveTo>
                    <a:lnTo>
                      <a:pt x="0" y="24"/>
                    </a:lnTo>
                    <a:lnTo>
                      <a:pt x="25" y="51"/>
                    </a:lnTo>
                    <a:lnTo>
                      <a:pt x="52" y="24"/>
                    </a:lnTo>
                    <a:lnTo>
                      <a:pt x="25" y="0"/>
                    </a:lnTo>
                    <a:lnTo>
                      <a:pt x="0" y="0"/>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09" name="Freeform 84">
                <a:extLst>
                  <a:ext uri="{FF2B5EF4-FFF2-40B4-BE49-F238E27FC236}">
                    <a16:creationId xmlns:a16="http://schemas.microsoft.com/office/drawing/2014/main" id="{BCF2FF7F-E97B-4133-A6EA-8E73EA88631E}"/>
                  </a:ext>
                </a:extLst>
              </p:cNvPr>
              <p:cNvSpPr>
                <a:spLocks/>
              </p:cNvSpPr>
              <p:nvPr/>
            </p:nvSpPr>
            <p:spPr bwMode="gray">
              <a:xfrm>
                <a:off x="4492" y="2657"/>
                <a:ext cx="299" cy="247"/>
              </a:xfrm>
              <a:custGeom>
                <a:avLst/>
                <a:gdLst>
                  <a:gd name="T0" fmla="*/ 571 w 597"/>
                  <a:gd name="T1" fmla="*/ 442 h 493"/>
                  <a:gd name="T2" fmla="*/ 519 w 597"/>
                  <a:gd name="T3" fmla="*/ 390 h 493"/>
                  <a:gd name="T4" fmla="*/ 494 w 597"/>
                  <a:gd name="T5" fmla="*/ 338 h 493"/>
                  <a:gd name="T6" fmla="*/ 519 w 597"/>
                  <a:gd name="T7" fmla="*/ 311 h 493"/>
                  <a:gd name="T8" fmla="*/ 519 w 597"/>
                  <a:gd name="T9" fmla="*/ 287 h 493"/>
                  <a:gd name="T10" fmla="*/ 494 w 597"/>
                  <a:gd name="T11" fmla="*/ 258 h 493"/>
                  <a:gd name="T12" fmla="*/ 467 w 597"/>
                  <a:gd name="T13" fmla="*/ 258 h 493"/>
                  <a:gd name="T14" fmla="*/ 467 w 597"/>
                  <a:gd name="T15" fmla="*/ 235 h 493"/>
                  <a:gd name="T16" fmla="*/ 442 w 597"/>
                  <a:gd name="T17" fmla="*/ 183 h 493"/>
                  <a:gd name="T18" fmla="*/ 391 w 597"/>
                  <a:gd name="T19" fmla="*/ 155 h 493"/>
                  <a:gd name="T20" fmla="*/ 362 w 597"/>
                  <a:gd name="T21" fmla="*/ 132 h 493"/>
                  <a:gd name="T22" fmla="*/ 335 w 597"/>
                  <a:gd name="T23" fmla="*/ 132 h 493"/>
                  <a:gd name="T24" fmla="*/ 287 w 597"/>
                  <a:gd name="T25" fmla="*/ 103 h 493"/>
                  <a:gd name="T26" fmla="*/ 258 w 597"/>
                  <a:gd name="T27" fmla="*/ 80 h 493"/>
                  <a:gd name="T28" fmla="*/ 235 w 597"/>
                  <a:gd name="T29" fmla="*/ 80 h 493"/>
                  <a:gd name="T30" fmla="*/ 180 w 597"/>
                  <a:gd name="T31" fmla="*/ 103 h 493"/>
                  <a:gd name="T32" fmla="*/ 155 w 597"/>
                  <a:gd name="T33" fmla="*/ 103 h 493"/>
                  <a:gd name="T34" fmla="*/ 128 w 597"/>
                  <a:gd name="T35" fmla="*/ 103 h 493"/>
                  <a:gd name="T36" fmla="*/ 103 w 597"/>
                  <a:gd name="T37" fmla="*/ 28 h 493"/>
                  <a:gd name="T38" fmla="*/ 80 w 597"/>
                  <a:gd name="T39" fmla="*/ 0 h 493"/>
                  <a:gd name="T40" fmla="*/ 52 w 597"/>
                  <a:gd name="T41" fmla="*/ 0 h 493"/>
                  <a:gd name="T42" fmla="*/ 0 w 597"/>
                  <a:gd name="T43" fmla="*/ 28 h 493"/>
                  <a:gd name="T44" fmla="*/ 52 w 597"/>
                  <a:gd name="T45" fmla="*/ 51 h 493"/>
                  <a:gd name="T46" fmla="*/ 52 w 597"/>
                  <a:gd name="T47" fmla="*/ 80 h 493"/>
                  <a:gd name="T48" fmla="*/ 80 w 597"/>
                  <a:gd name="T49" fmla="*/ 80 h 493"/>
                  <a:gd name="T50" fmla="*/ 103 w 597"/>
                  <a:gd name="T51" fmla="*/ 80 h 493"/>
                  <a:gd name="T52" fmla="*/ 80 w 597"/>
                  <a:gd name="T53" fmla="*/ 103 h 493"/>
                  <a:gd name="T54" fmla="*/ 52 w 597"/>
                  <a:gd name="T55" fmla="*/ 132 h 493"/>
                  <a:gd name="T56" fmla="*/ 80 w 597"/>
                  <a:gd name="T57" fmla="*/ 132 h 493"/>
                  <a:gd name="T58" fmla="*/ 103 w 597"/>
                  <a:gd name="T59" fmla="*/ 132 h 493"/>
                  <a:gd name="T60" fmla="*/ 128 w 597"/>
                  <a:gd name="T61" fmla="*/ 132 h 493"/>
                  <a:gd name="T62" fmla="*/ 180 w 597"/>
                  <a:gd name="T63" fmla="*/ 155 h 493"/>
                  <a:gd name="T64" fmla="*/ 235 w 597"/>
                  <a:gd name="T65" fmla="*/ 206 h 493"/>
                  <a:gd name="T66" fmla="*/ 235 w 597"/>
                  <a:gd name="T67" fmla="*/ 235 h 493"/>
                  <a:gd name="T68" fmla="*/ 235 w 597"/>
                  <a:gd name="T69" fmla="*/ 258 h 493"/>
                  <a:gd name="T70" fmla="*/ 207 w 597"/>
                  <a:gd name="T71" fmla="*/ 258 h 493"/>
                  <a:gd name="T72" fmla="*/ 207 w 597"/>
                  <a:gd name="T73" fmla="*/ 287 h 493"/>
                  <a:gd name="T74" fmla="*/ 235 w 597"/>
                  <a:gd name="T75" fmla="*/ 287 h 493"/>
                  <a:gd name="T76" fmla="*/ 235 w 597"/>
                  <a:gd name="T77" fmla="*/ 311 h 493"/>
                  <a:gd name="T78" fmla="*/ 235 w 597"/>
                  <a:gd name="T79" fmla="*/ 338 h 493"/>
                  <a:gd name="T80" fmla="*/ 258 w 597"/>
                  <a:gd name="T81" fmla="*/ 338 h 493"/>
                  <a:gd name="T82" fmla="*/ 287 w 597"/>
                  <a:gd name="T83" fmla="*/ 363 h 493"/>
                  <a:gd name="T84" fmla="*/ 310 w 597"/>
                  <a:gd name="T85" fmla="*/ 390 h 493"/>
                  <a:gd name="T86" fmla="*/ 335 w 597"/>
                  <a:gd name="T87" fmla="*/ 363 h 493"/>
                  <a:gd name="T88" fmla="*/ 335 w 597"/>
                  <a:gd name="T89" fmla="*/ 390 h 493"/>
                  <a:gd name="T90" fmla="*/ 362 w 597"/>
                  <a:gd name="T91" fmla="*/ 390 h 493"/>
                  <a:gd name="T92" fmla="*/ 362 w 597"/>
                  <a:gd name="T93" fmla="*/ 363 h 493"/>
                  <a:gd name="T94" fmla="*/ 335 w 597"/>
                  <a:gd name="T95" fmla="*/ 338 h 493"/>
                  <a:gd name="T96" fmla="*/ 362 w 597"/>
                  <a:gd name="T97" fmla="*/ 338 h 493"/>
                  <a:gd name="T98" fmla="*/ 391 w 597"/>
                  <a:gd name="T99" fmla="*/ 338 h 493"/>
                  <a:gd name="T100" fmla="*/ 442 w 597"/>
                  <a:gd name="T101" fmla="*/ 363 h 493"/>
                  <a:gd name="T102" fmla="*/ 467 w 597"/>
                  <a:gd name="T103" fmla="*/ 390 h 493"/>
                  <a:gd name="T104" fmla="*/ 494 w 597"/>
                  <a:gd name="T105" fmla="*/ 415 h 493"/>
                  <a:gd name="T106" fmla="*/ 519 w 597"/>
                  <a:gd name="T107" fmla="*/ 442 h 493"/>
                  <a:gd name="T108" fmla="*/ 519 w 597"/>
                  <a:gd name="T109" fmla="*/ 466 h 493"/>
                  <a:gd name="T110" fmla="*/ 571 w 597"/>
                  <a:gd name="T111" fmla="*/ 493 h 493"/>
                  <a:gd name="T112" fmla="*/ 597 w 597"/>
                  <a:gd name="T113" fmla="*/ 493 h 493"/>
                  <a:gd name="T114" fmla="*/ 571 w 597"/>
                  <a:gd name="T115" fmla="*/ 466 h 493"/>
                  <a:gd name="T116" fmla="*/ 597 w 597"/>
                  <a:gd name="T117" fmla="*/ 466 h 493"/>
                  <a:gd name="T118" fmla="*/ 571 w 597"/>
                  <a:gd name="T119" fmla="*/ 44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493">
                    <a:moveTo>
                      <a:pt x="571" y="442"/>
                    </a:moveTo>
                    <a:lnTo>
                      <a:pt x="519" y="390"/>
                    </a:lnTo>
                    <a:lnTo>
                      <a:pt x="494" y="338"/>
                    </a:lnTo>
                    <a:lnTo>
                      <a:pt x="519" y="311"/>
                    </a:lnTo>
                    <a:lnTo>
                      <a:pt x="519" y="287"/>
                    </a:lnTo>
                    <a:lnTo>
                      <a:pt x="494" y="258"/>
                    </a:lnTo>
                    <a:lnTo>
                      <a:pt x="467" y="258"/>
                    </a:lnTo>
                    <a:lnTo>
                      <a:pt x="467" y="235"/>
                    </a:lnTo>
                    <a:lnTo>
                      <a:pt x="442" y="183"/>
                    </a:lnTo>
                    <a:lnTo>
                      <a:pt x="391" y="155"/>
                    </a:lnTo>
                    <a:lnTo>
                      <a:pt x="362" y="132"/>
                    </a:lnTo>
                    <a:lnTo>
                      <a:pt x="335" y="132"/>
                    </a:lnTo>
                    <a:lnTo>
                      <a:pt x="287" y="103"/>
                    </a:lnTo>
                    <a:lnTo>
                      <a:pt x="258" y="80"/>
                    </a:lnTo>
                    <a:lnTo>
                      <a:pt x="235" y="80"/>
                    </a:lnTo>
                    <a:lnTo>
                      <a:pt x="180" y="103"/>
                    </a:lnTo>
                    <a:lnTo>
                      <a:pt x="155" y="103"/>
                    </a:lnTo>
                    <a:lnTo>
                      <a:pt x="128" y="103"/>
                    </a:lnTo>
                    <a:lnTo>
                      <a:pt x="103" y="28"/>
                    </a:lnTo>
                    <a:lnTo>
                      <a:pt x="80" y="0"/>
                    </a:lnTo>
                    <a:lnTo>
                      <a:pt x="52" y="0"/>
                    </a:lnTo>
                    <a:lnTo>
                      <a:pt x="0" y="28"/>
                    </a:lnTo>
                    <a:lnTo>
                      <a:pt x="52" y="51"/>
                    </a:lnTo>
                    <a:lnTo>
                      <a:pt x="52" y="80"/>
                    </a:lnTo>
                    <a:lnTo>
                      <a:pt x="80" y="80"/>
                    </a:lnTo>
                    <a:lnTo>
                      <a:pt x="103" y="80"/>
                    </a:lnTo>
                    <a:lnTo>
                      <a:pt x="80" y="103"/>
                    </a:lnTo>
                    <a:lnTo>
                      <a:pt x="52" y="132"/>
                    </a:lnTo>
                    <a:lnTo>
                      <a:pt x="80" y="132"/>
                    </a:lnTo>
                    <a:lnTo>
                      <a:pt x="103" y="132"/>
                    </a:lnTo>
                    <a:lnTo>
                      <a:pt x="128" y="132"/>
                    </a:lnTo>
                    <a:lnTo>
                      <a:pt x="180" y="155"/>
                    </a:lnTo>
                    <a:lnTo>
                      <a:pt x="235" y="206"/>
                    </a:lnTo>
                    <a:lnTo>
                      <a:pt x="235" y="235"/>
                    </a:lnTo>
                    <a:lnTo>
                      <a:pt x="235" y="258"/>
                    </a:lnTo>
                    <a:lnTo>
                      <a:pt x="207" y="258"/>
                    </a:lnTo>
                    <a:lnTo>
                      <a:pt x="207" y="287"/>
                    </a:lnTo>
                    <a:lnTo>
                      <a:pt x="235" y="287"/>
                    </a:lnTo>
                    <a:lnTo>
                      <a:pt x="235" y="311"/>
                    </a:lnTo>
                    <a:lnTo>
                      <a:pt x="235" y="338"/>
                    </a:lnTo>
                    <a:lnTo>
                      <a:pt x="258" y="338"/>
                    </a:lnTo>
                    <a:lnTo>
                      <a:pt x="287" y="363"/>
                    </a:lnTo>
                    <a:lnTo>
                      <a:pt x="310" y="390"/>
                    </a:lnTo>
                    <a:lnTo>
                      <a:pt x="335" y="363"/>
                    </a:lnTo>
                    <a:lnTo>
                      <a:pt x="335" y="390"/>
                    </a:lnTo>
                    <a:lnTo>
                      <a:pt x="362" y="390"/>
                    </a:lnTo>
                    <a:lnTo>
                      <a:pt x="362" y="363"/>
                    </a:lnTo>
                    <a:lnTo>
                      <a:pt x="335" y="338"/>
                    </a:lnTo>
                    <a:lnTo>
                      <a:pt x="362" y="338"/>
                    </a:lnTo>
                    <a:lnTo>
                      <a:pt x="391" y="338"/>
                    </a:lnTo>
                    <a:lnTo>
                      <a:pt x="442" y="363"/>
                    </a:lnTo>
                    <a:lnTo>
                      <a:pt x="467" y="390"/>
                    </a:lnTo>
                    <a:lnTo>
                      <a:pt x="494" y="415"/>
                    </a:lnTo>
                    <a:lnTo>
                      <a:pt x="519" y="442"/>
                    </a:lnTo>
                    <a:lnTo>
                      <a:pt x="519" y="466"/>
                    </a:lnTo>
                    <a:lnTo>
                      <a:pt x="571" y="493"/>
                    </a:lnTo>
                    <a:lnTo>
                      <a:pt x="597" y="493"/>
                    </a:lnTo>
                    <a:lnTo>
                      <a:pt x="571" y="466"/>
                    </a:lnTo>
                    <a:lnTo>
                      <a:pt x="597" y="466"/>
                    </a:lnTo>
                    <a:lnTo>
                      <a:pt x="571" y="44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0" name="Freeform 99">
                <a:extLst>
                  <a:ext uri="{FF2B5EF4-FFF2-40B4-BE49-F238E27FC236}">
                    <a16:creationId xmlns:a16="http://schemas.microsoft.com/office/drawing/2014/main" id="{2DF63B02-4AEA-4AFB-9919-7529D3D66120}"/>
                  </a:ext>
                </a:extLst>
              </p:cNvPr>
              <p:cNvSpPr>
                <a:spLocks/>
              </p:cNvSpPr>
              <p:nvPr/>
            </p:nvSpPr>
            <p:spPr bwMode="gray">
              <a:xfrm>
                <a:off x="3126" y="2827"/>
                <a:ext cx="144" cy="260"/>
              </a:xfrm>
              <a:custGeom>
                <a:avLst/>
                <a:gdLst>
                  <a:gd name="T0" fmla="*/ 26 w 144"/>
                  <a:gd name="T1" fmla="*/ 104 h 260"/>
                  <a:gd name="T2" fmla="*/ 26 w 144"/>
                  <a:gd name="T3" fmla="*/ 142 h 260"/>
                  <a:gd name="T4" fmla="*/ 0 w 144"/>
                  <a:gd name="T5" fmla="*/ 194 h 260"/>
                  <a:gd name="T6" fmla="*/ 0 w 144"/>
                  <a:gd name="T7" fmla="*/ 246 h 260"/>
                  <a:gd name="T8" fmla="*/ 26 w 144"/>
                  <a:gd name="T9" fmla="*/ 260 h 260"/>
                  <a:gd name="T10" fmla="*/ 40 w 144"/>
                  <a:gd name="T11" fmla="*/ 246 h 260"/>
                  <a:gd name="T12" fmla="*/ 66 w 144"/>
                  <a:gd name="T13" fmla="*/ 246 h 260"/>
                  <a:gd name="T14" fmla="*/ 78 w 144"/>
                  <a:gd name="T15" fmla="*/ 220 h 260"/>
                  <a:gd name="T16" fmla="*/ 78 w 144"/>
                  <a:gd name="T17" fmla="*/ 208 h 260"/>
                  <a:gd name="T18" fmla="*/ 118 w 144"/>
                  <a:gd name="T19" fmla="*/ 116 h 260"/>
                  <a:gd name="T20" fmla="*/ 118 w 144"/>
                  <a:gd name="T21" fmla="*/ 104 h 260"/>
                  <a:gd name="T22" fmla="*/ 118 w 144"/>
                  <a:gd name="T23" fmla="*/ 64 h 260"/>
                  <a:gd name="T24" fmla="*/ 130 w 144"/>
                  <a:gd name="T25" fmla="*/ 64 h 260"/>
                  <a:gd name="T26" fmla="*/ 130 w 144"/>
                  <a:gd name="T27" fmla="*/ 90 h 260"/>
                  <a:gd name="T28" fmla="*/ 144 w 144"/>
                  <a:gd name="T29" fmla="*/ 52 h 260"/>
                  <a:gd name="T30" fmla="*/ 130 w 144"/>
                  <a:gd name="T31" fmla="*/ 38 h 260"/>
                  <a:gd name="T32" fmla="*/ 118 w 144"/>
                  <a:gd name="T33" fmla="*/ 12 h 260"/>
                  <a:gd name="T34" fmla="*/ 118 w 144"/>
                  <a:gd name="T35" fmla="*/ 0 h 260"/>
                  <a:gd name="T36" fmla="*/ 78 w 144"/>
                  <a:gd name="T37" fmla="*/ 64 h 260"/>
                  <a:gd name="T38" fmla="*/ 66 w 144"/>
                  <a:gd name="T39" fmla="*/ 64 h 260"/>
                  <a:gd name="T40" fmla="*/ 66 w 144"/>
                  <a:gd name="T41" fmla="*/ 78 h 260"/>
                  <a:gd name="T42" fmla="*/ 52 w 144"/>
                  <a:gd name="T43" fmla="*/ 78 h 260"/>
                  <a:gd name="T44" fmla="*/ 26 w 144"/>
                  <a:gd name="T45" fmla="*/ 104 h 260"/>
                  <a:gd name="T46" fmla="*/ 26 w 144"/>
                  <a:gd name="T47" fmla="*/ 1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260">
                    <a:moveTo>
                      <a:pt x="26" y="104"/>
                    </a:moveTo>
                    <a:lnTo>
                      <a:pt x="26" y="142"/>
                    </a:lnTo>
                    <a:lnTo>
                      <a:pt x="0" y="194"/>
                    </a:lnTo>
                    <a:lnTo>
                      <a:pt x="0" y="246"/>
                    </a:lnTo>
                    <a:lnTo>
                      <a:pt x="26" y="260"/>
                    </a:lnTo>
                    <a:lnTo>
                      <a:pt x="40" y="246"/>
                    </a:lnTo>
                    <a:lnTo>
                      <a:pt x="66" y="246"/>
                    </a:lnTo>
                    <a:lnTo>
                      <a:pt x="78" y="220"/>
                    </a:lnTo>
                    <a:lnTo>
                      <a:pt x="78" y="208"/>
                    </a:lnTo>
                    <a:lnTo>
                      <a:pt x="118" y="116"/>
                    </a:lnTo>
                    <a:lnTo>
                      <a:pt x="118" y="104"/>
                    </a:lnTo>
                    <a:lnTo>
                      <a:pt x="118" y="64"/>
                    </a:lnTo>
                    <a:lnTo>
                      <a:pt x="130" y="64"/>
                    </a:lnTo>
                    <a:lnTo>
                      <a:pt x="130" y="90"/>
                    </a:lnTo>
                    <a:lnTo>
                      <a:pt x="144" y="52"/>
                    </a:lnTo>
                    <a:lnTo>
                      <a:pt x="130" y="38"/>
                    </a:lnTo>
                    <a:lnTo>
                      <a:pt x="118" y="12"/>
                    </a:lnTo>
                    <a:lnTo>
                      <a:pt x="118" y="0"/>
                    </a:lnTo>
                    <a:lnTo>
                      <a:pt x="78" y="64"/>
                    </a:lnTo>
                    <a:lnTo>
                      <a:pt x="66" y="64"/>
                    </a:lnTo>
                    <a:lnTo>
                      <a:pt x="66" y="78"/>
                    </a:lnTo>
                    <a:lnTo>
                      <a:pt x="52" y="78"/>
                    </a:lnTo>
                    <a:lnTo>
                      <a:pt x="26" y="104"/>
                    </a:lnTo>
                    <a:lnTo>
                      <a:pt x="26" y="104"/>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1" name="Freeform 100">
                <a:extLst>
                  <a:ext uri="{FF2B5EF4-FFF2-40B4-BE49-F238E27FC236}">
                    <a16:creationId xmlns:a16="http://schemas.microsoft.com/office/drawing/2014/main" id="{DAC9918E-DC32-414E-987E-261E0E361A7E}"/>
                  </a:ext>
                </a:extLst>
              </p:cNvPr>
              <p:cNvSpPr>
                <a:spLocks/>
              </p:cNvSpPr>
              <p:nvPr/>
            </p:nvSpPr>
            <p:spPr bwMode="gray">
              <a:xfrm>
                <a:off x="2086" y="1953"/>
                <a:ext cx="1196" cy="1328"/>
              </a:xfrm>
              <a:custGeom>
                <a:avLst/>
                <a:gdLst>
                  <a:gd name="T0" fmla="*/ 852 w 1196"/>
                  <a:gd name="T1" fmla="*/ 110 h 1328"/>
                  <a:gd name="T2" fmla="*/ 780 w 1196"/>
                  <a:gd name="T3" fmla="*/ 118 h 1328"/>
                  <a:gd name="T4" fmla="*/ 676 w 1196"/>
                  <a:gd name="T5" fmla="*/ 80 h 1328"/>
                  <a:gd name="T6" fmla="*/ 636 w 1196"/>
                  <a:gd name="T7" fmla="*/ 118 h 1328"/>
                  <a:gd name="T8" fmla="*/ 584 w 1196"/>
                  <a:gd name="T9" fmla="*/ 106 h 1328"/>
                  <a:gd name="T10" fmla="*/ 520 w 1196"/>
                  <a:gd name="T11" fmla="*/ 80 h 1328"/>
                  <a:gd name="T12" fmla="*/ 518 w 1196"/>
                  <a:gd name="T13" fmla="*/ 27 h 1328"/>
                  <a:gd name="T14" fmla="*/ 468 w 1196"/>
                  <a:gd name="T15" fmla="*/ 2 h 1328"/>
                  <a:gd name="T16" fmla="*/ 390 w 1196"/>
                  <a:gd name="T17" fmla="*/ 2 h 1328"/>
                  <a:gd name="T18" fmla="*/ 298 w 1196"/>
                  <a:gd name="T19" fmla="*/ 40 h 1328"/>
                  <a:gd name="T20" fmla="*/ 246 w 1196"/>
                  <a:gd name="T21" fmla="*/ 54 h 1328"/>
                  <a:gd name="T22" fmla="*/ 182 w 1196"/>
                  <a:gd name="T23" fmla="*/ 118 h 1328"/>
                  <a:gd name="T24" fmla="*/ 104 w 1196"/>
                  <a:gd name="T25" fmla="*/ 196 h 1328"/>
                  <a:gd name="T26" fmla="*/ 12 w 1196"/>
                  <a:gd name="T27" fmla="*/ 288 h 1328"/>
                  <a:gd name="T28" fmla="*/ 26 w 1196"/>
                  <a:gd name="T29" fmla="*/ 314 h 1328"/>
                  <a:gd name="T30" fmla="*/ 26 w 1196"/>
                  <a:gd name="T31" fmla="*/ 380 h 1328"/>
                  <a:gd name="T32" fmla="*/ 0 w 1196"/>
                  <a:gd name="T33" fmla="*/ 418 h 1328"/>
                  <a:gd name="T34" fmla="*/ 0 w 1196"/>
                  <a:gd name="T35" fmla="*/ 458 h 1328"/>
                  <a:gd name="T36" fmla="*/ 26 w 1196"/>
                  <a:gd name="T37" fmla="*/ 496 h 1328"/>
                  <a:gd name="T38" fmla="*/ 52 w 1196"/>
                  <a:gd name="T39" fmla="*/ 522 h 1328"/>
                  <a:gd name="T40" fmla="*/ 78 w 1196"/>
                  <a:gd name="T41" fmla="*/ 562 h 1328"/>
                  <a:gd name="T42" fmla="*/ 208 w 1196"/>
                  <a:gd name="T43" fmla="*/ 600 h 1328"/>
                  <a:gd name="T44" fmla="*/ 286 w 1196"/>
                  <a:gd name="T45" fmla="*/ 588 h 1328"/>
                  <a:gd name="T46" fmla="*/ 338 w 1196"/>
                  <a:gd name="T47" fmla="*/ 562 h 1328"/>
                  <a:gd name="T48" fmla="*/ 390 w 1196"/>
                  <a:gd name="T49" fmla="*/ 600 h 1328"/>
                  <a:gd name="T50" fmla="*/ 442 w 1196"/>
                  <a:gd name="T51" fmla="*/ 588 h 1328"/>
                  <a:gd name="T52" fmla="*/ 468 w 1196"/>
                  <a:gd name="T53" fmla="*/ 640 h 1328"/>
                  <a:gd name="T54" fmla="*/ 454 w 1196"/>
                  <a:gd name="T55" fmla="*/ 692 h 1328"/>
                  <a:gd name="T56" fmla="*/ 494 w 1196"/>
                  <a:gd name="T57" fmla="*/ 744 h 1328"/>
                  <a:gd name="T58" fmla="*/ 520 w 1196"/>
                  <a:gd name="T59" fmla="*/ 782 h 1328"/>
                  <a:gd name="T60" fmla="*/ 520 w 1196"/>
                  <a:gd name="T61" fmla="*/ 848 h 1328"/>
                  <a:gd name="T62" fmla="*/ 546 w 1196"/>
                  <a:gd name="T63" fmla="*/ 874 h 1328"/>
                  <a:gd name="T64" fmla="*/ 520 w 1196"/>
                  <a:gd name="T65" fmla="*/ 926 h 1328"/>
                  <a:gd name="T66" fmla="*/ 506 w 1196"/>
                  <a:gd name="T67" fmla="*/ 1004 h 1328"/>
                  <a:gd name="T68" fmla="*/ 558 w 1196"/>
                  <a:gd name="T69" fmla="*/ 1082 h 1328"/>
                  <a:gd name="T70" fmla="*/ 598 w 1196"/>
                  <a:gd name="T71" fmla="*/ 1212 h 1328"/>
                  <a:gd name="T72" fmla="*/ 624 w 1196"/>
                  <a:gd name="T73" fmla="*/ 1264 h 1328"/>
                  <a:gd name="T74" fmla="*/ 636 w 1196"/>
                  <a:gd name="T75" fmla="*/ 1328 h 1328"/>
                  <a:gd name="T76" fmla="*/ 676 w 1196"/>
                  <a:gd name="T77" fmla="*/ 1316 h 1328"/>
                  <a:gd name="T78" fmla="*/ 754 w 1196"/>
                  <a:gd name="T79" fmla="*/ 1290 h 1328"/>
                  <a:gd name="T80" fmla="*/ 858 w 1196"/>
                  <a:gd name="T81" fmla="*/ 1186 h 1328"/>
                  <a:gd name="T82" fmla="*/ 844 w 1196"/>
                  <a:gd name="T83" fmla="*/ 1160 h 1328"/>
                  <a:gd name="T84" fmla="*/ 870 w 1196"/>
                  <a:gd name="T85" fmla="*/ 1134 h 1328"/>
                  <a:gd name="T86" fmla="*/ 910 w 1196"/>
                  <a:gd name="T87" fmla="*/ 1056 h 1328"/>
                  <a:gd name="T88" fmla="*/ 910 w 1196"/>
                  <a:gd name="T89" fmla="*/ 1030 h 1328"/>
                  <a:gd name="T90" fmla="*/ 936 w 1196"/>
                  <a:gd name="T91" fmla="*/ 1004 h 1328"/>
                  <a:gd name="T92" fmla="*/ 1014 w 1196"/>
                  <a:gd name="T93" fmla="*/ 860 h 1328"/>
                  <a:gd name="T94" fmla="*/ 1002 w 1196"/>
                  <a:gd name="T95" fmla="*/ 782 h 1328"/>
                  <a:gd name="T96" fmla="*/ 988 w 1196"/>
                  <a:gd name="T97" fmla="*/ 756 h 1328"/>
                  <a:gd name="T98" fmla="*/ 1132 w 1196"/>
                  <a:gd name="T99" fmla="*/ 588 h 1328"/>
                  <a:gd name="T100" fmla="*/ 1184 w 1196"/>
                  <a:gd name="T101" fmla="*/ 444 h 1328"/>
                  <a:gd name="T102" fmla="*/ 1132 w 1196"/>
                  <a:gd name="T103" fmla="*/ 470 h 1328"/>
                  <a:gd name="T104" fmla="*/ 1054 w 1196"/>
                  <a:gd name="T105" fmla="*/ 470 h 1328"/>
                  <a:gd name="T106" fmla="*/ 1040 w 1196"/>
                  <a:gd name="T107" fmla="*/ 432 h 1328"/>
                  <a:gd name="T108" fmla="*/ 962 w 1196"/>
                  <a:gd name="T109" fmla="*/ 340 h 1328"/>
                  <a:gd name="T110" fmla="*/ 936 w 1196"/>
                  <a:gd name="T111" fmla="*/ 288 h 1328"/>
                  <a:gd name="T112" fmla="*/ 844 w 1196"/>
                  <a:gd name="T113" fmla="*/ 158 h 1328"/>
                  <a:gd name="T114" fmla="*/ 844 w 1196"/>
                  <a:gd name="T115" fmla="*/ 144 h 1328"/>
                  <a:gd name="T116" fmla="*/ 864 w 1196"/>
                  <a:gd name="T117" fmla="*/ 146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96" h="1328">
                    <a:moveTo>
                      <a:pt x="864" y="146"/>
                    </a:moveTo>
                    <a:lnTo>
                      <a:pt x="852" y="110"/>
                    </a:lnTo>
                    <a:lnTo>
                      <a:pt x="806" y="92"/>
                    </a:lnTo>
                    <a:lnTo>
                      <a:pt x="780" y="118"/>
                    </a:lnTo>
                    <a:lnTo>
                      <a:pt x="714" y="106"/>
                    </a:lnTo>
                    <a:lnTo>
                      <a:pt x="676" y="80"/>
                    </a:lnTo>
                    <a:lnTo>
                      <a:pt x="650" y="80"/>
                    </a:lnTo>
                    <a:lnTo>
                      <a:pt x="636" y="118"/>
                    </a:lnTo>
                    <a:lnTo>
                      <a:pt x="624" y="132"/>
                    </a:lnTo>
                    <a:lnTo>
                      <a:pt x="584" y="106"/>
                    </a:lnTo>
                    <a:lnTo>
                      <a:pt x="572" y="80"/>
                    </a:lnTo>
                    <a:lnTo>
                      <a:pt x="520" y="80"/>
                    </a:lnTo>
                    <a:lnTo>
                      <a:pt x="490" y="53"/>
                    </a:lnTo>
                    <a:lnTo>
                      <a:pt x="518" y="27"/>
                    </a:lnTo>
                    <a:lnTo>
                      <a:pt x="505" y="0"/>
                    </a:lnTo>
                    <a:lnTo>
                      <a:pt x="468" y="2"/>
                    </a:lnTo>
                    <a:lnTo>
                      <a:pt x="428" y="14"/>
                    </a:lnTo>
                    <a:lnTo>
                      <a:pt x="390" y="2"/>
                    </a:lnTo>
                    <a:lnTo>
                      <a:pt x="324" y="40"/>
                    </a:lnTo>
                    <a:lnTo>
                      <a:pt x="298" y="40"/>
                    </a:lnTo>
                    <a:lnTo>
                      <a:pt x="260" y="28"/>
                    </a:lnTo>
                    <a:lnTo>
                      <a:pt x="246" y="54"/>
                    </a:lnTo>
                    <a:lnTo>
                      <a:pt x="208" y="80"/>
                    </a:lnTo>
                    <a:lnTo>
                      <a:pt x="182" y="118"/>
                    </a:lnTo>
                    <a:lnTo>
                      <a:pt x="182" y="144"/>
                    </a:lnTo>
                    <a:lnTo>
                      <a:pt x="104" y="196"/>
                    </a:lnTo>
                    <a:lnTo>
                      <a:pt x="78" y="210"/>
                    </a:lnTo>
                    <a:lnTo>
                      <a:pt x="12" y="288"/>
                    </a:lnTo>
                    <a:lnTo>
                      <a:pt x="26" y="302"/>
                    </a:lnTo>
                    <a:lnTo>
                      <a:pt x="26" y="314"/>
                    </a:lnTo>
                    <a:lnTo>
                      <a:pt x="26" y="326"/>
                    </a:lnTo>
                    <a:lnTo>
                      <a:pt x="26" y="380"/>
                    </a:lnTo>
                    <a:lnTo>
                      <a:pt x="12" y="392"/>
                    </a:lnTo>
                    <a:lnTo>
                      <a:pt x="0" y="418"/>
                    </a:lnTo>
                    <a:lnTo>
                      <a:pt x="0" y="432"/>
                    </a:lnTo>
                    <a:lnTo>
                      <a:pt x="0" y="458"/>
                    </a:lnTo>
                    <a:lnTo>
                      <a:pt x="0" y="470"/>
                    </a:lnTo>
                    <a:lnTo>
                      <a:pt x="26" y="496"/>
                    </a:lnTo>
                    <a:lnTo>
                      <a:pt x="52" y="510"/>
                    </a:lnTo>
                    <a:lnTo>
                      <a:pt x="52" y="522"/>
                    </a:lnTo>
                    <a:lnTo>
                      <a:pt x="64" y="548"/>
                    </a:lnTo>
                    <a:lnTo>
                      <a:pt x="78" y="562"/>
                    </a:lnTo>
                    <a:lnTo>
                      <a:pt x="156" y="600"/>
                    </a:lnTo>
                    <a:lnTo>
                      <a:pt x="208" y="600"/>
                    </a:lnTo>
                    <a:lnTo>
                      <a:pt x="246" y="600"/>
                    </a:lnTo>
                    <a:lnTo>
                      <a:pt x="286" y="588"/>
                    </a:lnTo>
                    <a:lnTo>
                      <a:pt x="312" y="574"/>
                    </a:lnTo>
                    <a:lnTo>
                      <a:pt x="338" y="562"/>
                    </a:lnTo>
                    <a:lnTo>
                      <a:pt x="376" y="574"/>
                    </a:lnTo>
                    <a:lnTo>
                      <a:pt x="390" y="600"/>
                    </a:lnTo>
                    <a:lnTo>
                      <a:pt x="416" y="614"/>
                    </a:lnTo>
                    <a:lnTo>
                      <a:pt x="442" y="588"/>
                    </a:lnTo>
                    <a:lnTo>
                      <a:pt x="468" y="600"/>
                    </a:lnTo>
                    <a:lnTo>
                      <a:pt x="468" y="640"/>
                    </a:lnTo>
                    <a:lnTo>
                      <a:pt x="454" y="652"/>
                    </a:lnTo>
                    <a:lnTo>
                      <a:pt x="454" y="692"/>
                    </a:lnTo>
                    <a:lnTo>
                      <a:pt x="468" y="718"/>
                    </a:lnTo>
                    <a:lnTo>
                      <a:pt x="494" y="744"/>
                    </a:lnTo>
                    <a:lnTo>
                      <a:pt x="506" y="770"/>
                    </a:lnTo>
                    <a:lnTo>
                      <a:pt x="520" y="782"/>
                    </a:lnTo>
                    <a:lnTo>
                      <a:pt x="532" y="822"/>
                    </a:lnTo>
                    <a:lnTo>
                      <a:pt x="520" y="848"/>
                    </a:lnTo>
                    <a:lnTo>
                      <a:pt x="532" y="860"/>
                    </a:lnTo>
                    <a:lnTo>
                      <a:pt x="546" y="874"/>
                    </a:lnTo>
                    <a:lnTo>
                      <a:pt x="532" y="900"/>
                    </a:lnTo>
                    <a:lnTo>
                      <a:pt x="520" y="926"/>
                    </a:lnTo>
                    <a:lnTo>
                      <a:pt x="506" y="964"/>
                    </a:lnTo>
                    <a:lnTo>
                      <a:pt x="506" y="1004"/>
                    </a:lnTo>
                    <a:lnTo>
                      <a:pt x="532" y="1068"/>
                    </a:lnTo>
                    <a:lnTo>
                      <a:pt x="558" y="1082"/>
                    </a:lnTo>
                    <a:lnTo>
                      <a:pt x="572" y="1172"/>
                    </a:lnTo>
                    <a:lnTo>
                      <a:pt x="598" y="1212"/>
                    </a:lnTo>
                    <a:lnTo>
                      <a:pt x="600" y="1206"/>
                    </a:lnTo>
                    <a:lnTo>
                      <a:pt x="624" y="1264"/>
                    </a:lnTo>
                    <a:lnTo>
                      <a:pt x="624" y="1290"/>
                    </a:lnTo>
                    <a:lnTo>
                      <a:pt x="636" y="1328"/>
                    </a:lnTo>
                    <a:lnTo>
                      <a:pt x="650" y="1328"/>
                    </a:lnTo>
                    <a:lnTo>
                      <a:pt x="676" y="1316"/>
                    </a:lnTo>
                    <a:lnTo>
                      <a:pt x="714" y="1316"/>
                    </a:lnTo>
                    <a:lnTo>
                      <a:pt x="754" y="1290"/>
                    </a:lnTo>
                    <a:lnTo>
                      <a:pt x="806" y="1264"/>
                    </a:lnTo>
                    <a:lnTo>
                      <a:pt x="858" y="1186"/>
                    </a:lnTo>
                    <a:lnTo>
                      <a:pt x="858" y="1172"/>
                    </a:lnTo>
                    <a:lnTo>
                      <a:pt x="844" y="1160"/>
                    </a:lnTo>
                    <a:lnTo>
                      <a:pt x="870" y="1172"/>
                    </a:lnTo>
                    <a:lnTo>
                      <a:pt x="870" y="1134"/>
                    </a:lnTo>
                    <a:lnTo>
                      <a:pt x="910" y="1108"/>
                    </a:lnTo>
                    <a:lnTo>
                      <a:pt x="910" y="1056"/>
                    </a:lnTo>
                    <a:lnTo>
                      <a:pt x="896" y="1042"/>
                    </a:lnTo>
                    <a:lnTo>
                      <a:pt x="910" y="1030"/>
                    </a:lnTo>
                    <a:lnTo>
                      <a:pt x="924" y="1016"/>
                    </a:lnTo>
                    <a:lnTo>
                      <a:pt x="936" y="1004"/>
                    </a:lnTo>
                    <a:lnTo>
                      <a:pt x="1002" y="952"/>
                    </a:lnTo>
                    <a:lnTo>
                      <a:pt x="1014" y="860"/>
                    </a:lnTo>
                    <a:lnTo>
                      <a:pt x="1002" y="848"/>
                    </a:lnTo>
                    <a:lnTo>
                      <a:pt x="1002" y="782"/>
                    </a:lnTo>
                    <a:lnTo>
                      <a:pt x="988" y="782"/>
                    </a:lnTo>
                    <a:lnTo>
                      <a:pt x="988" y="756"/>
                    </a:lnTo>
                    <a:lnTo>
                      <a:pt x="1026" y="692"/>
                    </a:lnTo>
                    <a:lnTo>
                      <a:pt x="1132" y="588"/>
                    </a:lnTo>
                    <a:lnTo>
                      <a:pt x="1196" y="470"/>
                    </a:lnTo>
                    <a:lnTo>
                      <a:pt x="1184" y="444"/>
                    </a:lnTo>
                    <a:lnTo>
                      <a:pt x="1158" y="458"/>
                    </a:lnTo>
                    <a:lnTo>
                      <a:pt x="1132" y="470"/>
                    </a:lnTo>
                    <a:lnTo>
                      <a:pt x="1092" y="470"/>
                    </a:lnTo>
                    <a:lnTo>
                      <a:pt x="1054" y="470"/>
                    </a:lnTo>
                    <a:lnTo>
                      <a:pt x="1054" y="458"/>
                    </a:lnTo>
                    <a:lnTo>
                      <a:pt x="1040" y="432"/>
                    </a:lnTo>
                    <a:lnTo>
                      <a:pt x="976" y="392"/>
                    </a:lnTo>
                    <a:lnTo>
                      <a:pt x="962" y="340"/>
                    </a:lnTo>
                    <a:lnTo>
                      <a:pt x="936" y="326"/>
                    </a:lnTo>
                    <a:lnTo>
                      <a:pt x="936" y="288"/>
                    </a:lnTo>
                    <a:lnTo>
                      <a:pt x="910" y="262"/>
                    </a:lnTo>
                    <a:lnTo>
                      <a:pt x="844" y="158"/>
                    </a:lnTo>
                    <a:lnTo>
                      <a:pt x="832" y="132"/>
                    </a:lnTo>
                    <a:lnTo>
                      <a:pt x="844" y="144"/>
                    </a:lnTo>
                    <a:lnTo>
                      <a:pt x="870" y="170"/>
                    </a:lnTo>
                    <a:lnTo>
                      <a:pt x="864" y="146"/>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2" name="Freeform 101">
                <a:extLst>
                  <a:ext uri="{FF2B5EF4-FFF2-40B4-BE49-F238E27FC236}">
                    <a16:creationId xmlns:a16="http://schemas.microsoft.com/office/drawing/2014/main" id="{31E6733A-8731-4048-98D9-46F0844E1ABE}"/>
                  </a:ext>
                </a:extLst>
              </p:cNvPr>
              <p:cNvSpPr>
                <a:spLocks/>
              </p:cNvSpPr>
              <p:nvPr/>
            </p:nvSpPr>
            <p:spPr bwMode="gray">
              <a:xfrm>
                <a:off x="2956" y="2033"/>
                <a:ext cx="10" cy="18"/>
              </a:xfrm>
              <a:custGeom>
                <a:avLst/>
                <a:gdLst>
                  <a:gd name="T0" fmla="*/ 0 w 10"/>
                  <a:gd name="T1" fmla="*/ 0 h 18"/>
                  <a:gd name="T2" fmla="*/ 0 w 10"/>
                  <a:gd name="T3" fmla="*/ 6 h 18"/>
                  <a:gd name="T4" fmla="*/ 0 w 10"/>
                  <a:gd name="T5" fmla="*/ 6 h 18"/>
                  <a:gd name="T6" fmla="*/ 10 w 10"/>
                  <a:gd name="T7" fmla="*/ 18 h 18"/>
                  <a:gd name="T8" fmla="*/ 0 w 10"/>
                  <a:gd name="T9" fmla="*/ 0 h 18"/>
                </a:gdLst>
                <a:ahLst/>
                <a:cxnLst>
                  <a:cxn ang="0">
                    <a:pos x="T0" y="T1"/>
                  </a:cxn>
                  <a:cxn ang="0">
                    <a:pos x="T2" y="T3"/>
                  </a:cxn>
                  <a:cxn ang="0">
                    <a:pos x="T4" y="T5"/>
                  </a:cxn>
                  <a:cxn ang="0">
                    <a:pos x="T6" y="T7"/>
                  </a:cxn>
                  <a:cxn ang="0">
                    <a:pos x="T8" y="T9"/>
                  </a:cxn>
                </a:cxnLst>
                <a:rect l="0" t="0" r="r" b="b"/>
                <a:pathLst>
                  <a:path w="10" h="18">
                    <a:moveTo>
                      <a:pt x="0" y="0"/>
                    </a:moveTo>
                    <a:lnTo>
                      <a:pt x="0" y="6"/>
                    </a:lnTo>
                    <a:lnTo>
                      <a:pt x="0" y="6"/>
                    </a:lnTo>
                    <a:lnTo>
                      <a:pt x="10" y="18"/>
                    </a:lnTo>
                    <a:lnTo>
                      <a:pt x="0" y="0"/>
                    </a:lnTo>
                    <a:close/>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3" name="Freeform 102">
                <a:extLst>
                  <a:ext uri="{FF2B5EF4-FFF2-40B4-BE49-F238E27FC236}">
                    <a16:creationId xmlns:a16="http://schemas.microsoft.com/office/drawing/2014/main" id="{0F74B5D6-9C5A-42EF-8B6D-E7C8D9534C01}"/>
                  </a:ext>
                </a:extLst>
              </p:cNvPr>
              <p:cNvSpPr>
                <a:spLocks/>
              </p:cNvSpPr>
              <p:nvPr/>
            </p:nvSpPr>
            <p:spPr bwMode="gray">
              <a:xfrm>
                <a:off x="2956" y="2043"/>
                <a:ext cx="14" cy="42"/>
              </a:xfrm>
              <a:custGeom>
                <a:avLst/>
                <a:gdLst>
                  <a:gd name="T0" fmla="*/ 6 w 14"/>
                  <a:gd name="T1" fmla="*/ 0 h 42"/>
                  <a:gd name="T2" fmla="*/ 14 w 14"/>
                  <a:gd name="T3" fmla="*/ 16 h 42"/>
                  <a:gd name="T4" fmla="*/ 0 w 14"/>
                  <a:gd name="T5" fmla="*/ 28 h 42"/>
                  <a:gd name="T6" fmla="*/ 0 w 14"/>
                  <a:gd name="T7" fmla="*/ 42 h 42"/>
                  <a:gd name="T8" fmla="*/ 6 w 14"/>
                  <a:gd name="T9" fmla="*/ 0 h 42"/>
                </a:gdLst>
                <a:ahLst/>
                <a:cxnLst>
                  <a:cxn ang="0">
                    <a:pos x="T0" y="T1"/>
                  </a:cxn>
                  <a:cxn ang="0">
                    <a:pos x="T2" y="T3"/>
                  </a:cxn>
                  <a:cxn ang="0">
                    <a:pos x="T4" y="T5"/>
                  </a:cxn>
                  <a:cxn ang="0">
                    <a:pos x="T6" y="T7"/>
                  </a:cxn>
                  <a:cxn ang="0">
                    <a:pos x="T8" y="T9"/>
                  </a:cxn>
                </a:cxnLst>
                <a:rect l="0" t="0" r="r" b="b"/>
                <a:pathLst>
                  <a:path w="14" h="42">
                    <a:moveTo>
                      <a:pt x="6" y="0"/>
                    </a:moveTo>
                    <a:lnTo>
                      <a:pt x="14" y="16"/>
                    </a:lnTo>
                    <a:lnTo>
                      <a:pt x="0" y="28"/>
                    </a:lnTo>
                    <a:lnTo>
                      <a:pt x="0" y="42"/>
                    </a:lnTo>
                    <a:lnTo>
                      <a:pt x="6" y="0"/>
                    </a:lnTo>
                    <a:close/>
                  </a:path>
                </a:pathLst>
              </a:custGeom>
              <a:grpFill/>
              <a:ln w="9525" cmpd="sng">
                <a:solidFill>
                  <a:srgbClr val="B2B2B2"/>
                </a:solidFill>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4" name="Freeform 103">
                <a:extLst>
                  <a:ext uri="{FF2B5EF4-FFF2-40B4-BE49-F238E27FC236}">
                    <a16:creationId xmlns:a16="http://schemas.microsoft.com/office/drawing/2014/main" id="{91BC4FAC-269E-4A19-BC15-DBDA4D74D4EF}"/>
                  </a:ext>
                </a:extLst>
              </p:cNvPr>
              <p:cNvSpPr>
                <a:spLocks/>
              </p:cNvSpPr>
              <p:nvPr/>
            </p:nvSpPr>
            <p:spPr bwMode="gray">
              <a:xfrm>
                <a:off x="2956" y="2043"/>
                <a:ext cx="14" cy="42"/>
              </a:xfrm>
              <a:custGeom>
                <a:avLst/>
                <a:gdLst>
                  <a:gd name="T0" fmla="*/ 6 w 14"/>
                  <a:gd name="T1" fmla="*/ 0 h 42"/>
                  <a:gd name="T2" fmla="*/ 14 w 14"/>
                  <a:gd name="T3" fmla="*/ 16 h 42"/>
                  <a:gd name="T4" fmla="*/ 0 w 14"/>
                  <a:gd name="T5" fmla="*/ 28 h 42"/>
                  <a:gd name="T6" fmla="*/ 0 w 14"/>
                  <a:gd name="T7" fmla="*/ 42 h 42"/>
                </a:gdLst>
                <a:ahLst/>
                <a:cxnLst>
                  <a:cxn ang="0">
                    <a:pos x="T0" y="T1"/>
                  </a:cxn>
                  <a:cxn ang="0">
                    <a:pos x="T2" y="T3"/>
                  </a:cxn>
                  <a:cxn ang="0">
                    <a:pos x="T4" y="T5"/>
                  </a:cxn>
                  <a:cxn ang="0">
                    <a:pos x="T6" y="T7"/>
                  </a:cxn>
                </a:cxnLst>
                <a:rect l="0" t="0" r="r" b="b"/>
                <a:pathLst>
                  <a:path w="14" h="42">
                    <a:moveTo>
                      <a:pt x="6" y="0"/>
                    </a:moveTo>
                    <a:lnTo>
                      <a:pt x="14" y="16"/>
                    </a:lnTo>
                    <a:lnTo>
                      <a:pt x="0" y="28"/>
                    </a:lnTo>
                    <a:lnTo>
                      <a:pt x="0" y="42"/>
                    </a:lnTo>
                  </a:path>
                </a:pathLst>
              </a:custGeom>
              <a:grpFill/>
              <a:ln w="9525" cmpd="sng">
                <a:solidFill>
                  <a:srgbClr val="B2B2B2"/>
                </a:solidFill>
                <a:prstDash val="solid"/>
                <a:round/>
                <a:headEnd/>
                <a:tailEnd/>
              </a:ln>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5" name="Line 99">
                <a:extLst>
                  <a:ext uri="{FF2B5EF4-FFF2-40B4-BE49-F238E27FC236}">
                    <a16:creationId xmlns:a16="http://schemas.microsoft.com/office/drawing/2014/main" id="{3711CB1F-C78A-4420-B84A-E5150007ED03}"/>
                  </a:ext>
                </a:extLst>
              </p:cNvPr>
              <p:cNvSpPr>
                <a:spLocks noChangeShapeType="1"/>
              </p:cNvSpPr>
              <p:nvPr/>
            </p:nvSpPr>
            <p:spPr bwMode="gray">
              <a:xfrm>
                <a:off x="2016" y="3040"/>
                <a:ext cx="0" cy="0"/>
              </a:xfrm>
              <a:prstGeom prst="line">
                <a:avLst/>
              </a:prstGeom>
              <a:grpFill/>
              <a:ln w="9525">
                <a:solidFill>
                  <a:srgbClr val="B2B2B2"/>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grpSp>
            <p:nvGrpSpPr>
              <p:cNvPr id="216" name="Group 125">
                <a:extLst>
                  <a:ext uri="{FF2B5EF4-FFF2-40B4-BE49-F238E27FC236}">
                    <a16:creationId xmlns:a16="http://schemas.microsoft.com/office/drawing/2014/main" id="{3CF46304-9445-4BBE-B1B8-CDD7039704B6}"/>
                  </a:ext>
                </a:extLst>
              </p:cNvPr>
              <p:cNvGrpSpPr>
                <a:grpSpLocks/>
              </p:cNvGrpSpPr>
              <p:nvPr/>
            </p:nvGrpSpPr>
            <p:grpSpPr bwMode="auto">
              <a:xfrm rot="602090">
                <a:off x="4134" y="2833"/>
                <a:ext cx="651" cy="619"/>
                <a:chOff x="1474" y="921"/>
                <a:chExt cx="2866" cy="2415"/>
              </a:xfrm>
              <a:grpFill/>
            </p:grpSpPr>
            <p:sp>
              <p:nvSpPr>
                <p:cNvPr id="217" name="Freeform 126">
                  <a:extLst>
                    <a:ext uri="{FF2B5EF4-FFF2-40B4-BE49-F238E27FC236}">
                      <a16:creationId xmlns:a16="http://schemas.microsoft.com/office/drawing/2014/main" id="{1037240C-EE29-4047-B0BA-56EC946104ED}"/>
                    </a:ext>
                  </a:extLst>
                </p:cNvPr>
                <p:cNvSpPr>
                  <a:spLocks/>
                </p:cNvSpPr>
                <p:nvPr/>
              </p:nvSpPr>
              <p:spPr bwMode="gray">
                <a:xfrm>
                  <a:off x="1474" y="921"/>
                  <a:ext cx="2866" cy="2079"/>
                </a:xfrm>
                <a:custGeom>
                  <a:avLst/>
                  <a:gdLst>
                    <a:gd name="T0" fmla="*/ 96 w 2866"/>
                    <a:gd name="T1" fmla="*/ 1364 h 2079"/>
                    <a:gd name="T2" fmla="*/ 28 w 2866"/>
                    <a:gd name="T3" fmla="*/ 1172 h 2079"/>
                    <a:gd name="T4" fmla="*/ 57 w 2866"/>
                    <a:gd name="T5" fmla="*/ 1105 h 2079"/>
                    <a:gd name="T6" fmla="*/ 4 w 2866"/>
                    <a:gd name="T7" fmla="*/ 1013 h 2079"/>
                    <a:gd name="T8" fmla="*/ 137 w 2866"/>
                    <a:gd name="T9" fmla="*/ 818 h 2079"/>
                    <a:gd name="T10" fmla="*/ 297 w 2866"/>
                    <a:gd name="T11" fmla="*/ 745 h 2079"/>
                    <a:gd name="T12" fmla="*/ 403 w 2866"/>
                    <a:gd name="T13" fmla="*/ 711 h 2079"/>
                    <a:gd name="T14" fmla="*/ 600 w 2866"/>
                    <a:gd name="T15" fmla="*/ 625 h 2079"/>
                    <a:gd name="T16" fmla="*/ 686 w 2866"/>
                    <a:gd name="T17" fmla="*/ 471 h 2079"/>
                    <a:gd name="T18" fmla="*/ 768 w 2866"/>
                    <a:gd name="T19" fmla="*/ 490 h 2079"/>
                    <a:gd name="T20" fmla="*/ 820 w 2866"/>
                    <a:gd name="T21" fmla="*/ 370 h 2079"/>
                    <a:gd name="T22" fmla="*/ 883 w 2866"/>
                    <a:gd name="T23" fmla="*/ 313 h 2079"/>
                    <a:gd name="T24" fmla="*/ 1021 w 2866"/>
                    <a:gd name="T25" fmla="*/ 255 h 2079"/>
                    <a:gd name="T26" fmla="*/ 1185 w 2866"/>
                    <a:gd name="T27" fmla="*/ 274 h 2079"/>
                    <a:gd name="T28" fmla="*/ 1252 w 2866"/>
                    <a:gd name="T29" fmla="*/ 183 h 2079"/>
                    <a:gd name="T30" fmla="*/ 1416 w 2866"/>
                    <a:gd name="T31" fmla="*/ 125 h 2079"/>
                    <a:gd name="T32" fmla="*/ 1449 w 2866"/>
                    <a:gd name="T33" fmla="*/ 68 h 2079"/>
                    <a:gd name="T34" fmla="*/ 1641 w 2866"/>
                    <a:gd name="T35" fmla="*/ 111 h 2079"/>
                    <a:gd name="T36" fmla="*/ 1680 w 2866"/>
                    <a:gd name="T37" fmla="*/ 217 h 2079"/>
                    <a:gd name="T38" fmla="*/ 1665 w 2866"/>
                    <a:gd name="T39" fmla="*/ 260 h 2079"/>
                    <a:gd name="T40" fmla="*/ 1680 w 2866"/>
                    <a:gd name="T41" fmla="*/ 380 h 2079"/>
                    <a:gd name="T42" fmla="*/ 1886 w 2866"/>
                    <a:gd name="T43" fmla="*/ 503 h 2079"/>
                    <a:gd name="T44" fmla="*/ 2036 w 2866"/>
                    <a:gd name="T45" fmla="*/ 428 h 2079"/>
                    <a:gd name="T46" fmla="*/ 2078 w 2866"/>
                    <a:gd name="T47" fmla="*/ 178 h 2079"/>
                    <a:gd name="T48" fmla="*/ 2169 w 2866"/>
                    <a:gd name="T49" fmla="*/ 68 h 2079"/>
                    <a:gd name="T50" fmla="*/ 2280 w 2866"/>
                    <a:gd name="T51" fmla="*/ 279 h 2079"/>
                    <a:gd name="T52" fmla="*/ 2344 w 2866"/>
                    <a:gd name="T53" fmla="*/ 458 h 2079"/>
                    <a:gd name="T54" fmla="*/ 2395 w 2866"/>
                    <a:gd name="T55" fmla="*/ 629 h 2079"/>
                    <a:gd name="T56" fmla="*/ 2558 w 2866"/>
                    <a:gd name="T57" fmla="*/ 725 h 2079"/>
                    <a:gd name="T58" fmla="*/ 2683 w 2866"/>
                    <a:gd name="T59" fmla="*/ 893 h 2079"/>
                    <a:gd name="T60" fmla="*/ 2863 w 2866"/>
                    <a:gd name="T61" fmla="*/ 1055 h 2079"/>
                    <a:gd name="T62" fmla="*/ 2812 w 2866"/>
                    <a:gd name="T63" fmla="*/ 1455 h 2079"/>
                    <a:gd name="T64" fmla="*/ 2673 w 2866"/>
                    <a:gd name="T65" fmla="*/ 1666 h 2079"/>
                    <a:gd name="T66" fmla="*/ 2568 w 2866"/>
                    <a:gd name="T67" fmla="*/ 1825 h 2079"/>
                    <a:gd name="T68" fmla="*/ 2371 w 2866"/>
                    <a:gd name="T69" fmla="*/ 2009 h 2079"/>
                    <a:gd name="T70" fmla="*/ 2169 w 2866"/>
                    <a:gd name="T71" fmla="*/ 2017 h 2079"/>
                    <a:gd name="T72" fmla="*/ 2001 w 2866"/>
                    <a:gd name="T73" fmla="*/ 2045 h 2079"/>
                    <a:gd name="T74" fmla="*/ 1824 w 2866"/>
                    <a:gd name="T75" fmla="*/ 1925 h 2079"/>
                    <a:gd name="T76" fmla="*/ 1742 w 2866"/>
                    <a:gd name="T77" fmla="*/ 1801 h 2079"/>
                    <a:gd name="T78" fmla="*/ 1680 w 2866"/>
                    <a:gd name="T79" fmla="*/ 1781 h 2079"/>
                    <a:gd name="T80" fmla="*/ 1681 w 2866"/>
                    <a:gd name="T81" fmla="*/ 1733 h 2079"/>
                    <a:gd name="T82" fmla="*/ 1675 w 2866"/>
                    <a:gd name="T83" fmla="*/ 1671 h 2079"/>
                    <a:gd name="T84" fmla="*/ 1521 w 2866"/>
                    <a:gd name="T85" fmla="*/ 1762 h 2079"/>
                    <a:gd name="T86" fmla="*/ 1355 w 2866"/>
                    <a:gd name="T87" fmla="*/ 1575 h 2079"/>
                    <a:gd name="T88" fmla="*/ 1056 w 2866"/>
                    <a:gd name="T89" fmla="*/ 1570 h 2079"/>
                    <a:gd name="T90" fmla="*/ 751 w 2866"/>
                    <a:gd name="T91" fmla="*/ 1650 h 2079"/>
                    <a:gd name="T92" fmla="*/ 369 w 2866"/>
                    <a:gd name="T93" fmla="*/ 1753 h 2079"/>
                    <a:gd name="T94" fmla="*/ 105 w 2866"/>
                    <a:gd name="T95" fmla="*/ 1743 h 2079"/>
                    <a:gd name="T96" fmla="*/ 148 w 2866"/>
                    <a:gd name="T97" fmla="*/ 1623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6" h="2079">
                      <a:moveTo>
                        <a:pt x="153" y="1551"/>
                      </a:moveTo>
                      <a:cubicBezTo>
                        <a:pt x="146" y="1532"/>
                        <a:pt x="139" y="1522"/>
                        <a:pt x="124" y="1508"/>
                      </a:cubicBezTo>
                      <a:cubicBezTo>
                        <a:pt x="121" y="1498"/>
                        <a:pt x="113" y="1489"/>
                        <a:pt x="110" y="1479"/>
                      </a:cubicBezTo>
                      <a:cubicBezTo>
                        <a:pt x="101" y="1441"/>
                        <a:pt x="108" y="1401"/>
                        <a:pt x="96" y="1364"/>
                      </a:cubicBezTo>
                      <a:cubicBezTo>
                        <a:pt x="89" y="1341"/>
                        <a:pt x="70" y="1328"/>
                        <a:pt x="62" y="1306"/>
                      </a:cubicBezTo>
                      <a:cubicBezTo>
                        <a:pt x="55" y="1285"/>
                        <a:pt x="51" y="1267"/>
                        <a:pt x="38" y="1249"/>
                      </a:cubicBezTo>
                      <a:cubicBezTo>
                        <a:pt x="28" y="1219"/>
                        <a:pt x="16" y="1189"/>
                        <a:pt x="0" y="1162"/>
                      </a:cubicBezTo>
                      <a:cubicBezTo>
                        <a:pt x="1" y="1166"/>
                        <a:pt x="7" y="1208"/>
                        <a:pt x="28" y="1172"/>
                      </a:cubicBezTo>
                      <a:cubicBezTo>
                        <a:pt x="33" y="1164"/>
                        <a:pt x="25" y="1153"/>
                        <a:pt x="24" y="1143"/>
                      </a:cubicBezTo>
                      <a:cubicBezTo>
                        <a:pt x="34" y="1108"/>
                        <a:pt x="37" y="1154"/>
                        <a:pt x="43" y="1162"/>
                      </a:cubicBezTo>
                      <a:cubicBezTo>
                        <a:pt x="46" y="1166"/>
                        <a:pt x="52" y="1165"/>
                        <a:pt x="57" y="1167"/>
                      </a:cubicBezTo>
                      <a:cubicBezTo>
                        <a:pt x="89" y="1156"/>
                        <a:pt x="72" y="1126"/>
                        <a:pt x="57" y="1105"/>
                      </a:cubicBezTo>
                      <a:cubicBezTo>
                        <a:pt x="50" y="1085"/>
                        <a:pt x="41" y="1087"/>
                        <a:pt x="24" y="1076"/>
                      </a:cubicBezTo>
                      <a:cubicBezTo>
                        <a:pt x="22" y="1071"/>
                        <a:pt x="20" y="1066"/>
                        <a:pt x="19" y="1061"/>
                      </a:cubicBezTo>
                      <a:cubicBezTo>
                        <a:pt x="17" y="1055"/>
                        <a:pt x="16" y="1048"/>
                        <a:pt x="14" y="1042"/>
                      </a:cubicBezTo>
                      <a:cubicBezTo>
                        <a:pt x="11" y="1032"/>
                        <a:pt x="4" y="1013"/>
                        <a:pt x="4" y="1013"/>
                      </a:cubicBezTo>
                      <a:cubicBezTo>
                        <a:pt x="8" y="982"/>
                        <a:pt x="18" y="971"/>
                        <a:pt x="34" y="947"/>
                      </a:cubicBezTo>
                      <a:cubicBezTo>
                        <a:pt x="43" y="915"/>
                        <a:pt x="27" y="843"/>
                        <a:pt x="62" y="831"/>
                      </a:cubicBezTo>
                      <a:cubicBezTo>
                        <a:pt x="54" y="856"/>
                        <a:pt x="38" y="878"/>
                        <a:pt x="72" y="889"/>
                      </a:cubicBezTo>
                      <a:cubicBezTo>
                        <a:pt x="91" y="857"/>
                        <a:pt x="104" y="840"/>
                        <a:pt x="137" y="818"/>
                      </a:cubicBezTo>
                      <a:cubicBezTo>
                        <a:pt x="153" y="802"/>
                        <a:pt x="158" y="800"/>
                        <a:pt x="168" y="793"/>
                      </a:cubicBezTo>
                      <a:cubicBezTo>
                        <a:pt x="178" y="787"/>
                        <a:pt x="196" y="773"/>
                        <a:pt x="196" y="773"/>
                      </a:cubicBezTo>
                      <a:cubicBezTo>
                        <a:pt x="203" y="754"/>
                        <a:pt x="217" y="757"/>
                        <a:pt x="236" y="752"/>
                      </a:cubicBezTo>
                      <a:cubicBezTo>
                        <a:pt x="258" y="736"/>
                        <a:pt x="272" y="736"/>
                        <a:pt x="297" y="745"/>
                      </a:cubicBezTo>
                      <a:cubicBezTo>
                        <a:pt x="308" y="743"/>
                        <a:pt x="320" y="743"/>
                        <a:pt x="331" y="740"/>
                      </a:cubicBezTo>
                      <a:cubicBezTo>
                        <a:pt x="336" y="738"/>
                        <a:pt x="341" y="734"/>
                        <a:pt x="345" y="730"/>
                      </a:cubicBezTo>
                      <a:cubicBezTo>
                        <a:pt x="349" y="726"/>
                        <a:pt x="350" y="718"/>
                        <a:pt x="355" y="716"/>
                      </a:cubicBezTo>
                      <a:cubicBezTo>
                        <a:pt x="370" y="711"/>
                        <a:pt x="387" y="713"/>
                        <a:pt x="403" y="711"/>
                      </a:cubicBezTo>
                      <a:cubicBezTo>
                        <a:pt x="419" y="707"/>
                        <a:pt x="432" y="701"/>
                        <a:pt x="452" y="698"/>
                      </a:cubicBezTo>
                      <a:cubicBezTo>
                        <a:pt x="472" y="695"/>
                        <a:pt x="503" y="698"/>
                        <a:pt x="523" y="692"/>
                      </a:cubicBezTo>
                      <a:cubicBezTo>
                        <a:pt x="551" y="684"/>
                        <a:pt x="558" y="674"/>
                        <a:pt x="571" y="663"/>
                      </a:cubicBezTo>
                      <a:cubicBezTo>
                        <a:pt x="587" y="652"/>
                        <a:pt x="593" y="643"/>
                        <a:pt x="600" y="625"/>
                      </a:cubicBezTo>
                      <a:cubicBezTo>
                        <a:pt x="611" y="614"/>
                        <a:pt x="613" y="592"/>
                        <a:pt x="623" y="582"/>
                      </a:cubicBezTo>
                      <a:cubicBezTo>
                        <a:pt x="633" y="572"/>
                        <a:pt x="658" y="580"/>
                        <a:pt x="662" y="567"/>
                      </a:cubicBezTo>
                      <a:cubicBezTo>
                        <a:pt x="667" y="556"/>
                        <a:pt x="645" y="517"/>
                        <a:pt x="649" y="501"/>
                      </a:cubicBezTo>
                      <a:cubicBezTo>
                        <a:pt x="653" y="485"/>
                        <a:pt x="674" y="475"/>
                        <a:pt x="686" y="471"/>
                      </a:cubicBezTo>
                      <a:cubicBezTo>
                        <a:pt x="697" y="429"/>
                        <a:pt x="710" y="440"/>
                        <a:pt x="722" y="474"/>
                      </a:cubicBezTo>
                      <a:cubicBezTo>
                        <a:pt x="727" y="488"/>
                        <a:pt x="741" y="510"/>
                        <a:pt x="746" y="524"/>
                      </a:cubicBezTo>
                      <a:cubicBezTo>
                        <a:pt x="754" y="531"/>
                        <a:pt x="754" y="518"/>
                        <a:pt x="758" y="512"/>
                      </a:cubicBezTo>
                      <a:cubicBezTo>
                        <a:pt x="762" y="506"/>
                        <a:pt x="770" y="500"/>
                        <a:pt x="768" y="490"/>
                      </a:cubicBezTo>
                      <a:cubicBezTo>
                        <a:pt x="784" y="465"/>
                        <a:pt x="769" y="465"/>
                        <a:pt x="748" y="452"/>
                      </a:cubicBezTo>
                      <a:cubicBezTo>
                        <a:pt x="759" y="409"/>
                        <a:pt x="743" y="448"/>
                        <a:pt x="811" y="428"/>
                      </a:cubicBezTo>
                      <a:cubicBezTo>
                        <a:pt x="826" y="424"/>
                        <a:pt x="830" y="385"/>
                        <a:pt x="830" y="385"/>
                      </a:cubicBezTo>
                      <a:cubicBezTo>
                        <a:pt x="827" y="380"/>
                        <a:pt x="817" y="375"/>
                        <a:pt x="820" y="370"/>
                      </a:cubicBezTo>
                      <a:cubicBezTo>
                        <a:pt x="825" y="363"/>
                        <a:pt x="836" y="368"/>
                        <a:pt x="844" y="365"/>
                      </a:cubicBezTo>
                      <a:cubicBezTo>
                        <a:pt x="849" y="363"/>
                        <a:pt x="854" y="359"/>
                        <a:pt x="859" y="356"/>
                      </a:cubicBezTo>
                      <a:cubicBezTo>
                        <a:pt x="863" y="354"/>
                        <a:pt x="868" y="353"/>
                        <a:pt x="873" y="351"/>
                      </a:cubicBezTo>
                      <a:cubicBezTo>
                        <a:pt x="877" y="339"/>
                        <a:pt x="876" y="324"/>
                        <a:pt x="883" y="313"/>
                      </a:cubicBezTo>
                      <a:cubicBezTo>
                        <a:pt x="889" y="304"/>
                        <a:pt x="903" y="304"/>
                        <a:pt x="912" y="298"/>
                      </a:cubicBezTo>
                      <a:cubicBezTo>
                        <a:pt x="919" y="273"/>
                        <a:pt x="938" y="272"/>
                        <a:pt x="960" y="265"/>
                      </a:cubicBezTo>
                      <a:cubicBezTo>
                        <a:pt x="969" y="262"/>
                        <a:pt x="988" y="255"/>
                        <a:pt x="988" y="255"/>
                      </a:cubicBezTo>
                      <a:cubicBezTo>
                        <a:pt x="1003" y="234"/>
                        <a:pt x="999" y="247"/>
                        <a:pt x="1021" y="255"/>
                      </a:cubicBezTo>
                      <a:cubicBezTo>
                        <a:pt x="1045" y="289"/>
                        <a:pt x="1083" y="309"/>
                        <a:pt x="1123" y="322"/>
                      </a:cubicBezTo>
                      <a:cubicBezTo>
                        <a:pt x="1147" y="333"/>
                        <a:pt x="1174" y="331"/>
                        <a:pt x="1184" y="323"/>
                      </a:cubicBezTo>
                      <a:cubicBezTo>
                        <a:pt x="1193" y="318"/>
                        <a:pt x="1177" y="299"/>
                        <a:pt x="1177" y="291"/>
                      </a:cubicBezTo>
                      <a:cubicBezTo>
                        <a:pt x="1177" y="283"/>
                        <a:pt x="1181" y="279"/>
                        <a:pt x="1185" y="274"/>
                      </a:cubicBezTo>
                      <a:cubicBezTo>
                        <a:pt x="1189" y="264"/>
                        <a:pt x="1189" y="269"/>
                        <a:pt x="1199" y="260"/>
                      </a:cubicBezTo>
                      <a:cubicBezTo>
                        <a:pt x="1204" y="252"/>
                        <a:pt x="1206" y="234"/>
                        <a:pt x="1213" y="228"/>
                      </a:cubicBezTo>
                      <a:cubicBezTo>
                        <a:pt x="1220" y="222"/>
                        <a:pt x="1237" y="228"/>
                        <a:pt x="1243" y="221"/>
                      </a:cubicBezTo>
                      <a:cubicBezTo>
                        <a:pt x="1234" y="186"/>
                        <a:pt x="1211" y="192"/>
                        <a:pt x="1252" y="183"/>
                      </a:cubicBezTo>
                      <a:cubicBezTo>
                        <a:pt x="1262" y="168"/>
                        <a:pt x="1281" y="145"/>
                        <a:pt x="1296" y="140"/>
                      </a:cubicBezTo>
                      <a:cubicBezTo>
                        <a:pt x="1303" y="129"/>
                        <a:pt x="1302" y="123"/>
                        <a:pt x="1318" y="125"/>
                      </a:cubicBezTo>
                      <a:cubicBezTo>
                        <a:pt x="1329" y="126"/>
                        <a:pt x="1342" y="137"/>
                        <a:pt x="1342" y="137"/>
                      </a:cubicBezTo>
                      <a:cubicBezTo>
                        <a:pt x="1363" y="135"/>
                        <a:pt x="1398" y="135"/>
                        <a:pt x="1416" y="125"/>
                      </a:cubicBezTo>
                      <a:cubicBezTo>
                        <a:pt x="1424" y="120"/>
                        <a:pt x="1418" y="104"/>
                        <a:pt x="1411" y="97"/>
                      </a:cubicBezTo>
                      <a:cubicBezTo>
                        <a:pt x="1404" y="90"/>
                        <a:pt x="1392" y="94"/>
                        <a:pt x="1382" y="92"/>
                      </a:cubicBezTo>
                      <a:cubicBezTo>
                        <a:pt x="1335" y="59"/>
                        <a:pt x="1368" y="64"/>
                        <a:pt x="1406" y="58"/>
                      </a:cubicBezTo>
                      <a:cubicBezTo>
                        <a:pt x="1421" y="61"/>
                        <a:pt x="1439" y="58"/>
                        <a:pt x="1449" y="68"/>
                      </a:cubicBezTo>
                      <a:cubicBezTo>
                        <a:pt x="1475" y="94"/>
                        <a:pt x="1427" y="71"/>
                        <a:pt x="1468" y="92"/>
                      </a:cubicBezTo>
                      <a:cubicBezTo>
                        <a:pt x="1484" y="98"/>
                        <a:pt x="1508" y="119"/>
                        <a:pt x="1537" y="122"/>
                      </a:cubicBezTo>
                      <a:cubicBezTo>
                        <a:pt x="1560" y="128"/>
                        <a:pt x="1587" y="133"/>
                        <a:pt x="1604" y="131"/>
                      </a:cubicBezTo>
                      <a:cubicBezTo>
                        <a:pt x="1621" y="129"/>
                        <a:pt x="1630" y="113"/>
                        <a:pt x="1641" y="111"/>
                      </a:cubicBezTo>
                      <a:cubicBezTo>
                        <a:pt x="1652" y="107"/>
                        <a:pt x="1657" y="118"/>
                        <a:pt x="1669" y="119"/>
                      </a:cubicBezTo>
                      <a:cubicBezTo>
                        <a:pt x="1681" y="120"/>
                        <a:pt x="1707" y="109"/>
                        <a:pt x="1713" y="116"/>
                      </a:cubicBezTo>
                      <a:cubicBezTo>
                        <a:pt x="1725" y="124"/>
                        <a:pt x="1710" y="145"/>
                        <a:pt x="1708" y="159"/>
                      </a:cubicBezTo>
                      <a:cubicBezTo>
                        <a:pt x="1704" y="183"/>
                        <a:pt x="1699" y="203"/>
                        <a:pt x="1680" y="217"/>
                      </a:cubicBezTo>
                      <a:cubicBezTo>
                        <a:pt x="1687" y="259"/>
                        <a:pt x="1689" y="228"/>
                        <a:pt x="1708" y="260"/>
                      </a:cubicBezTo>
                      <a:cubicBezTo>
                        <a:pt x="1707" y="270"/>
                        <a:pt x="1711" y="282"/>
                        <a:pt x="1704" y="289"/>
                      </a:cubicBezTo>
                      <a:cubicBezTo>
                        <a:pt x="1684" y="309"/>
                        <a:pt x="1682" y="271"/>
                        <a:pt x="1680" y="269"/>
                      </a:cubicBezTo>
                      <a:cubicBezTo>
                        <a:pt x="1676" y="264"/>
                        <a:pt x="1670" y="263"/>
                        <a:pt x="1665" y="260"/>
                      </a:cubicBezTo>
                      <a:cubicBezTo>
                        <a:pt x="1651" y="274"/>
                        <a:pt x="1637" y="279"/>
                        <a:pt x="1632" y="298"/>
                      </a:cubicBezTo>
                      <a:cubicBezTo>
                        <a:pt x="1627" y="308"/>
                        <a:pt x="1615" y="316"/>
                        <a:pt x="1616" y="324"/>
                      </a:cubicBezTo>
                      <a:cubicBezTo>
                        <a:pt x="1617" y="332"/>
                        <a:pt x="1625" y="337"/>
                        <a:pt x="1636" y="346"/>
                      </a:cubicBezTo>
                      <a:cubicBezTo>
                        <a:pt x="1641" y="364"/>
                        <a:pt x="1680" y="380"/>
                        <a:pt x="1680" y="380"/>
                      </a:cubicBezTo>
                      <a:cubicBezTo>
                        <a:pt x="1697" y="393"/>
                        <a:pt x="1710" y="401"/>
                        <a:pt x="1742" y="414"/>
                      </a:cubicBezTo>
                      <a:cubicBezTo>
                        <a:pt x="1765" y="428"/>
                        <a:pt x="1796" y="452"/>
                        <a:pt x="1819" y="462"/>
                      </a:cubicBezTo>
                      <a:cubicBezTo>
                        <a:pt x="1842" y="472"/>
                        <a:pt x="1870" y="469"/>
                        <a:pt x="1881" y="476"/>
                      </a:cubicBezTo>
                      <a:cubicBezTo>
                        <a:pt x="1885" y="479"/>
                        <a:pt x="1882" y="499"/>
                        <a:pt x="1886" y="503"/>
                      </a:cubicBezTo>
                      <a:cubicBezTo>
                        <a:pt x="1893" y="510"/>
                        <a:pt x="1900" y="500"/>
                        <a:pt x="1905" y="509"/>
                      </a:cubicBezTo>
                      <a:cubicBezTo>
                        <a:pt x="1914" y="526"/>
                        <a:pt x="1914" y="523"/>
                        <a:pt x="1929" y="533"/>
                      </a:cubicBezTo>
                      <a:cubicBezTo>
                        <a:pt x="1963" y="531"/>
                        <a:pt x="1995" y="542"/>
                        <a:pt x="2006" y="509"/>
                      </a:cubicBezTo>
                      <a:cubicBezTo>
                        <a:pt x="2010" y="481"/>
                        <a:pt x="2019" y="451"/>
                        <a:pt x="2036" y="428"/>
                      </a:cubicBezTo>
                      <a:cubicBezTo>
                        <a:pt x="2046" y="387"/>
                        <a:pt x="2048" y="413"/>
                        <a:pt x="2056" y="344"/>
                      </a:cubicBezTo>
                      <a:cubicBezTo>
                        <a:pt x="2058" y="326"/>
                        <a:pt x="2054" y="308"/>
                        <a:pt x="2054" y="308"/>
                      </a:cubicBezTo>
                      <a:cubicBezTo>
                        <a:pt x="2061" y="214"/>
                        <a:pt x="2051" y="262"/>
                        <a:pt x="2064" y="221"/>
                      </a:cubicBezTo>
                      <a:cubicBezTo>
                        <a:pt x="2068" y="207"/>
                        <a:pt x="2078" y="178"/>
                        <a:pt x="2078" y="178"/>
                      </a:cubicBezTo>
                      <a:cubicBezTo>
                        <a:pt x="2080" y="156"/>
                        <a:pt x="2079" y="133"/>
                        <a:pt x="2083" y="111"/>
                      </a:cubicBezTo>
                      <a:cubicBezTo>
                        <a:pt x="2086" y="96"/>
                        <a:pt x="2102" y="68"/>
                        <a:pt x="2102" y="68"/>
                      </a:cubicBezTo>
                      <a:cubicBezTo>
                        <a:pt x="2096" y="12"/>
                        <a:pt x="2088" y="0"/>
                        <a:pt x="2140" y="34"/>
                      </a:cubicBezTo>
                      <a:cubicBezTo>
                        <a:pt x="2151" y="51"/>
                        <a:pt x="2150" y="61"/>
                        <a:pt x="2169" y="68"/>
                      </a:cubicBezTo>
                      <a:cubicBezTo>
                        <a:pt x="2175" y="126"/>
                        <a:pt x="2169" y="101"/>
                        <a:pt x="2184" y="145"/>
                      </a:cubicBezTo>
                      <a:cubicBezTo>
                        <a:pt x="2189" y="159"/>
                        <a:pt x="2198" y="188"/>
                        <a:pt x="2198" y="188"/>
                      </a:cubicBezTo>
                      <a:cubicBezTo>
                        <a:pt x="2203" y="221"/>
                        <a:pt x="2199" y="281"/>
                        <a:pt x="2236" y="294"/>
                      </a:cubicBezTo>
                      <a:cubicBezTo>
                        <a:pt x="2270" y="282"/>
                        <a:pt x="2255" y="271"/>
                        <a:pt x="2280" y="279"/>
                      </a:cubicBezTo>
                      <a:cubicBezTo>
                        <a:pt x="2291" y="297"/>
                        <a:pt x="2302" y="295"/>
                        <a:pt x="2313" y="313"/>
                      </a:cubicBezTo>
                      <a:cubicBezTo>
                        <a:pt x="2315" y="330"/>
                        <a:pt x="2315" y="348"/>
                        <a:pt x="2318" y="365"/>
                      </a:cubicBezTo>
                      <a:cubicBezTo>
                        <a:pt x="2320" y="375"/>
                        <a:pt x="2328" y="394"/>
                        <a:pt x="2328" y="394"/>
                      </a:cubicBezTo>
                      <a:cubicBezTo>
                        <a:pt x="2330" y="411"/>
                        <a:pt x="2338" y="441"/>
                        <a:pt x="2344" y="458"/>
                      </a:cubicBezTo>
                      <a:cubicBezTo>
                        <a:pt x="2350" y="475"/>
                        <a:pt x="2361" y="488"/>
                        <a:pt x="2366" y="500"/>
                      </a:cubicBezTo>
                      <a:cubicBezTo>
                        <a:pt x="2369" y="510"/>
                        <a:pt x="2376" y="519"/>
                        <a:pt x="2376" y="529"/>
                      </a:cubicBezTo>
                      <a:cubicBezTo>
                        <a:pt x="2377" y="559"/>
                        <a:pt x="2374" y="590"/>
                        <a:pt x="2380" y="620"/>
                      </a:cubicBezTo>
                      <a:cubicBezTo>
                        <a:pt x="2381" y="626"/>
                        <a:pt x="2390" y="626"/>
                        <a:pt x="2395" y="629"/>
                      </a:cubicBezTo>
                      <a:cubicBezTo>
                        <a:pt x="2418" y="644"/>
                        <a:pt x="2442" y="650"/>
                        <a:pt x="2467" y="658"/>
                      </a:cubicBezTo>
                      <a:cubicBezTo>
                        <a:pt x="2476" y="665"/>
                        <a:pt x="2488" y="669"/>
                        <a:pt x="2496" y="677"/>
                      </a:cubicBezTo>
                      <a:cubicBezTo>
                        <a:pt x="2519" y="700"/>
                        <a:pt x="2489" y="687"/>
                        <a:pt x="2520" y="697"/>
                      </a:cubicBezTo>
                      <a:cubicBezTo>
                        <a:pt x="2531" y="714"/>
                        <a:pt x="2539" y="720"/>
                        <a:pt x="2558" y="725"/>
                      </a:cubicBezTo>
                      <a:cubicBezTo>
                        <a:pt x="2579" y="740"/>
                        <a:pt x="2571" y="745"/>
                        <a:pt x="2558" y="764"/>
                      </a:cubicBezTo>
                      <a:cubicBezTo>
                        <a:pt x="2572" y="778"/>
                        <a:pt x="2580" y="792"/>
                        <a:pt x="2596" y="802"/>
                      </a:cubicBezTo>
                      <a:cubicBezTo>
                        <a:pt x="2599" y="834"/>
                        <a:pt x="2589" y="868"/>
                        <a:pt x="2620" y="879"/>
                      </a:cubicBezTo>
                      <a:cubicBezTo>
                        <a:pt x="2647" y="870"/>
                        <a:pt x="2658" y="886"/>
                        <a:pt x="2683" y="893"/>
                      </a:cubicBezTo>
                      <a:cubicBezTo>
                        <a:pt x="2698" y="901"/>
                        <a:pt x="2680" y="931"/>
                        <a:pt x="2701" y="960"/>
                      </a:cubicBezTo>
                      <a:cubicBezTo>
                        <a:pt x="2722" y="989"/>
                        <a:pt x="2788" y="1044"/>
                        <a:pt x="2808" y="1066"/>
                      </a:cubicBezTo>
                      <a:cubicBezTo>
                        <a:pt x="2827" y="1087"/>
                        <a:pt x="2811" y="1063"/>
                        <a:pt x="2819" y="1092"/>
                      </a:cubicBezTo>
                      <a:cubicBezTo>
                        <a:pt x="2828" y="1090"/>
                        <a:pt x="2860" y="1050"/>
                        <a:pt x="2863" y="1055"/>
                      </a:cubicBezTo>
                      <a:cubicBezTo>
                        <a:pt x="2866" y="1060"/>
                        <a:pt x="2841" y="1093"/>
                        <a:pt x="2836" y="1122"/>
                      </a:cubicBezTo>
                      <a:cubicBezTo>
                        <a:pt x="2831" y="1151"/>
                        <a:pt x="2830" y="1194"/>
                        <a:pt x="2833" y="1227"/>
                      </a:cubicBezTo>
                      <a:cubicBezTo>
                        <a:pt x="2836" y="1260"/>
                        <a:pt x="2854" y="1284"/>
                        <a:pt x="2851" y="1322"/>
                      </a:cubicBezTo>
                      <a:cubicBezTo>
                        <a:pt x="2847" y="1360"/>
                        <a:pt x="2816" y="1418"/>
                        <a:pt x="2812" y="1455"/>
                      </a:cubicBezTo>
                      <a:cubicBezTo>
                        <a:pt x="2799" y="1494"/>
                        <a:pt x="2785" y="1535"/>
                        <a:pt x="2774" y="1556"/>
                      </a:cubicBezTo>
                      <a:cubicBezTo>
                        <a:pt x="2766" y="1566"/>
                        <a:pt x="2754" y="1571"/>
                        <a:pt x="2745" y="1580"/>
                      </a:cubicBezTo>
                      <a:cubicBezTo>
                        <a:pt x="2738" y="1599"/>
                        <a:pt x="2744" y="1615"/>
                        <a:pt x="2726" y="1622"/>
                      </a:cubicBezTo>
                      <a:cubicBezTo>
                        <a:pt x="2713" y="1641"/>
                        <a:pt x="2686" y="1647"/>
                        <a:pt x="2673" y="1666"/>
                      </a:cubicBezTo>
                      <a:cubicBezTo>
                        <a:pt x="2666" y="1688"/>
                        <a:pt x="2661" y="1688"/>
                        <a:pt x="2641" y="1695"/>
                      </a:cubicBezTo>
                      <a:cubicBezTo>
                        <a:pt x="2632" y="1705"/>
                        <a:pt x="2634" y="1720"/>
                        <a:pt x="2627" y="1734"/>
                      </a:cubicBezTo>
                      <a:cubicBezTo>
                        <a:pt x="2620" y="1748"/>
                        <a:pt x="2611" y="1762"/>
                        <a:pt x="2601" y="1777"/>
                      </a:cubicBezTo>
                      <a:cubicBezTo>
                        <a:pt x="2594" y="1798"/>
                        <a:pt x="2591" y="1817"/>
                        <a:pt x="2568" y="1825"/>
                      </a:cubicBezTo>
                      <a:cubicBezTo>
                        <a:pt x="2559" y="1837"/>
                        <a:pt x="2552" y="1824"/>
                        <a:pt x="2544" y="1849"/>
                      </a:cubicBezTo>
                      <a:cubicBezTo>
                        <a:pt x="2538" y="1872"/>
                        <a:pt x="2536" y="1953"/>
                        <a:pt x="2520" y="1978"/>
                      </a:cubicBezTo>
                      <a:cubicBezTo>
                        <a:pt x="2514" y="2001"/>
                        <a:pt x="2459" y="2000"/>
                        <a:pt x="2448" y="2002"/>
                      </a:cubicBezTo>
                      <a:cubicBezTo>
                        <a:pt x="2425" y="2009"/>
                        <a:pt x="2394" y="2001"/>
                        <a:pt x="2371" y="2009"/>
                      </a:cubicBezTo>
                      <a:cubicBezTo>
                        <a:pt x="2348" y="2017"/>
                        <a:pt x="2327" y="2039"/>
                        <a:pt x="2308" y="2050"/>
                      </a:cubicBezTo>
                      <a:cubicBezTo>
                        <a:pt x="2285" y="2066"/>
                        <a:pt x="2288" y="2068"/>
                        <a:pt x="2258" y="2078"/>
                      </a:cubicBezTo>
                      <a:cubicBezTo>
                        <a:pt x="2242" y="2079"/>
                        <a:pt x="2227" y="2065"/>
                        <a:pt x="2212" y="2055"/>
                      </a:cubicBezTo>
                      <a:cubicBezTo>
                        <a:pt x="2180" y="2022"/>
                        <a:pt x="2196" y="2033"/>
                        <a:pt x="2169" y="2017"/>
                      </a:cubicBezTo>
                      <a:cubicBezTo>
                        <a:pt x="2132" y="2028"/>
                        <a:pt x="2180" y="2012"/>
                        <a:pt x="2140" y="2031"/>
                      </a:cubicBezTo>
                      <a:cubicBezTo>
                        <a:pt x="2120" y="2040"/>
                        <a:pt x="2072" y="2067"/>
                        <a:pt x="2049" y="2069"/>
                      </a:cubicBezTo>
                      <a:cubicBezTo>
                        <a:pt x="2019" y="2063"/>
                        <a:pt x="2035" y="2069"/>
                        <a:pt x="2001" y="2045"/>
                      </a:cubicBezTo>
                      <a:lnTo>
                        <a:pt x="2001" y="2045"/>
                      </a:lnTo>
                      <a:cubicBezTo>
                        <a:pt x="1970" y="2036"/>
                        <a:pt x="1992" y="2041"/>
                        <a:pt x="1934" y="2036"/>
                      </a:cubicBezTo>
                      <a:cubicBezTo>
                        <a:pt x="1916" y="2023"/>
                        <a:pt x="1897" y="2019"/>
                        <a:pt x="1876" y="2012"/>
                      </a:cubicBezTo>
                      <a:cubicBezTo>
                        <a:pt x="1856" y="1998"/>
                        <a:pt x="1851" y="1975"/>
                        <a:pt x="1828" y="1969"/>
                      </a:cubicBezTo>
                      <a:cubicBezTo>
                        <a:pt x="1810" y="1940"/>
                        <a:pt x="1824" y="1970"/>
                        <a:pt x="1824" y="1925"/>
                      </a:cubicBezTo>
                      <a:cubicBezTo>
                        <a:pt x="1824" y="1892"/>
                        <a:pt x="1796" y="1855"/>
                        <a:pt x="1766" y="1844"/>
                      </a:cubicBezTo>
                      <a:cubicBezTo>
                        <a:pt x="1763" y="1839"/>
                        <a:pt x="1762" y="1831"/>
                        <a:pt x="1756" y="1829"/>
                      </a:cubicBezTo>
                      <a:cubicBezTo>
                        <a:pt x="1744" y="1824"/>
                        <a:pt x="1729" y="1846"/>
                        <a:pt x="1718" y="1839"/>
                      </a:cubicBezTo>
                      <a:cubicBezTo>
                        <a:pt x="1710" y="1834"/>
                        <a:pt x="1731" y="1808"/>
                        <a:pt x="1742" y="1801"/>
                      </a:cubicBezTo>
                      <a:cubicBezTo>
                        <a:pt x="1738" y="1777"/>
                        <a:pt x="1731" y="1765"/>
                        <a:pt x="1723" y="1743"/>
                      </a:cubicBezTo>
                      <a:cubicBezTo>
                        <a:pt x="1720" y="1748"/>
                        <a:pt x="1717" y="1753"/>
                        <a:pt x="1713" y="1757"/>
                      </a:cubicBezTo>
                      <a:cubicBezTo>
                        <a:pt x="1709" y="1760"/>
                        <a:pt x="1702" y="1758"/>
                        <a:pt x="1699" y="1762"/>
                      </a:cubicBezTo>
                      <a:cubicBezTo>
                        <a:pt x="1676" y="1786"/>
                        <a:pt x="1714" y="1771"/>
                        <a:pt x="1680" y="1781"/>
                      </a:cubicBezTo>
                      <a:cubicBezTo>
                        <a:pt x="1678" y="1789"/>
                        <a:pt x="1682" y="1802"/>
                        <a:pt x="1675" y="1805"/>
                      </a:cubicBezTo>
                      <a:cubicBezTo>
                        <a:pt x="1637" y="1822"/>
                        <a:pt x="1637" y="1805"/>
                        <a:pt x="1632" y="1786"/>
                      </a:cubicBezTo>
                      <a:cubicBezTo>
                        <a:pt x="1646" y="1781"/>
                        <a:pt x="1667" y="1790"/>
                        <a:pt x="1675" y="1777"/>
                      </a:cubicBezTo>
                      <a:cubicBezTo>
                        <a:pt x="1685" y="1768"/>
                        <a:pt x="1673" y="1755"/>
                        <a:pt x="1681" y="1733"/>
                      </a:cubicBezTo>
                      <a:cubicBezTo>
                        <a:pt x="1686" y="1718"/>
                        <a:pt x="1701" y="1702"/>
                        <a:pt x="1708" y="1688"/>
                      </a:cubicBezTo>
                      <a:cubicBezTo>
                        <a:pt x="1715" y="1674"/>
                        <a:pt x="1724" y="1656"/>
                        <a:pt x="1723" y="1647"/>
                      </a:cubicBezTo>
                      <a:cubicBezTo>
                        <a:pt x="1711" y="1612"/>
                        <a:pt x="1720" y="1611"/>
                        <a:pt x="1699" y="1633"/>
                      </a:cubicBezTo>
                      <a:cubicBezTo>
                        <a:pt x="1687" y="1666"/>
                        <a:pt x="1697" y="1655"/>
                        <a:pt x="1675" y="1671"/>
                      </a:cubicBezTo>
                      <a:cubicBezTo>
                        <a:pt x="1667" y="1692"/>
                        <a:pt x="1659" y="1690"/>
                        <a:pt x="1641" y="1700"/>
                      </a:cubicBezTo>
                      <a:cubicBezTo>
                        <a:pt x="1631" y="1706"/>
                        <a:pt x="1612" y="1719"/>
                        <a:pt x="1612" y="1719"/>
                      </a:cubicBezTo>
                      <a:cubicBezTo>
                        <a:pt x="1591" y="1750"/>
                        <a:pt x="1596" y="1748"/>
                        <a:pt x="1564" y="1757"/>
                      </a:cubicBezTo>
                      <a:cubicBezTo>
                        <a:pt x="1550" y="1781"/>
                        <a:pt x="1541" y="1782"/>
                        <a:pt x="1521" y="1762"/>
                      </a:cubicBezTo>
                      <a:cubicBezTo>
                        <a:pt x="1512" y="1721"/>
                        <a:pt x="1512" y="1676"/>
                        <a:pt x="1468" y="1661"/>
                      </a:cubicBezTo>
                      <a:cubicBezTo>
                        <a:pt x="1452" y="1645"/>
                        <a:pt x="1442" y="1640"/>
                        <a:pt x="1449" y="1618"/>
                      </a:cubicBezTo>
                      <a:cubicBezTo>
                        <a:pt x="1438" y="1588"/>
                        <a:pt x="1450" y="1607"/>
                        <a:pt x="1396" y="1599"/>
                      </a:cubicBezTo>
                      <a:cubicBezTo>
                        <a:pt x="1380" y="1594"/>
                        <a:pt x="1371" y="1579"/>
                        <a:pt x="1355" y="1575"/>
                      </a:cubicBezTo>
                      <a:cubicBezTo>
                        <a:pt x="1339" y="1571"/>
                        <a:pt x="1315" y="1581"/>
                        <a:pt x="1300" y="1575"/>
                      </a:cubicBezTo>
                      <a:cubicBezTo>
                        <a:pt x="1291" y="1561"/>
                        <a:pt x="1262" y="1541"/>
                        <a:pt x="1262" y="1541"/>
                      </a:cubicBezTo>
                      <a:cubicBezTo>
                        <a:pt x="1203" y="1543"/>
                        <a:pt x="1139" y="1528"/>
                        <a:pt x="1084" y="1551"/>
                      </a:cubicBezTo>
                      <a:cubicBezTo>
                        <a:pt x="1074" y="1555"/>
                        <a:pt x="1067" y="1566"/>
                        <a:pt x="1056" y="1570"/>
                      </a:cubicBezTo>
                      <a:cubicBezTo>
                        <a:pt x="1046" y="1573"/>
                        <a:pt x="1037" y="1577"/>
                        <a:pt x="1027" y="1580"/>
                      </a:cubicBezTo>
                      <a:cubicBezTo>
                        <a:pt x="986" y="1594"/>
                        <a:pt x="897" y="1599"/>
                        <a:pt x="897" y="1599"/>
                      </a:cubicBezTo>
                      <a:cubicBezTo>
                        <a:pt x="873" y="1607"/>
                        <a:pt x="844" y="1613"/>
                        <a:pt x="824" y="1629"/>
                      </a:cubicBezTo>
                      <a:cubicBezTo>
                        <a:pt x="799" y="1641"/>
                        <a:pt x="770" y="1636"/>
                        <a:pt x="751" y="1650"/>
                      </a:cubicBezTo>
                      <a:cubicBezTo>
                        <a:pt x="747" y="1656"/>
                        <a:pt x="721" y="1708"/>
                        <a:pt x="710" y="1714"/>
                      </a:cubicBezTo>
                      <a:cubicBezTo>
                        <a:pt x="662" y="1725"/>
                        <a:pt x="517" y="1708"/>
                        <a:pt x="460" y="1714"/>
                      </a:cubicBezTo>
                      <a:cubicBezTo>
                        <a:pt x="409" y="1716"/>
                        <a:pt x="419" y="1746"/>
                        <a:pt x="404" y="1752"/>
                      </a:cubicBezTo>
                      <a:cubicBezTo>
                        <a:pt x="389" y="1758"/>
                        <a:pt x="385" y="1746"/>
                        <a:pt x="369" y="1753"/>
                      </a:cubicBezTo>
                      <a:cubicBezTo>
                        <a:pt x="352" y="1756"/>
                        <a:pt x="336" y="1789"/>
                        <a:pt x="307" y="1796"/>
                      </a:cubicBezTo>
                      <a:cubicBezTo>
                        <a:pt x="278" y="1803"/>
                        <a:pt x="222" y="1800"/>
                        <a:pt x="196" y="1796"/>
                      </a:cubicBezTo>
                      <a:cubicBezTo>
                        <a:pt x="164" y="1774"/>
                        <a:pt x="179" y="1781"/>
                        <a:pt x="153" y="1772"/>
                      </a:cubicBezTo>
                      <a:cubicBezTo>
                        <a:pt x="140" y="1750"/>
                        <a:pt x="131" y="1748"/>
                        <a:pt x="105" y="1743"/>
                      </a:cubicBezTo>
                      <a:cubicBezTo>
                        <a:pt x="102" y="1734"/>
                        <a:pt x="88" y="1709"/>
                        <a:pt x="100" y="1700"/>
                      </a:cubicBezTo>
                      <a:cubicBezTo>
                        <a:pt x="113" y="1691"/>
                        <a:pt x="130" y="1689"/>
                        <a:pt x="144" y="1681"/>
                      </a:cubicBezTo>
                      <a:cubicBezTo>
                        <a:pt x="146" y="1677"/>
                        <a:pt x="159" y="1659"/>
                        <a:pt x="158" y="1652"/>
                      </a:cubicBezTo>
                      <a:cubicBezTo>
                        <a:pt x="157" y="1642"/>
                        <a:pt x="148" y="1623"/>
                        <a:pt x="148" y="1623"/>
                      </a:cubicBezTo>
                      <a:cubicBezTo>
                        <a:pt x="157" y="1599"/>
                        <a:pt x="162" y="1575"/>
                        <a:pt x="153" y="1551"/>
                      </a:cubicBezTo>
                      <a:close/>
                    </a:path>
                  </a:pathLst>
                </a:custGeom>
                <a:grpFill/>
                <a:ln w="9525">
                  <a:solidFill>
                    <a:srgbClr val="B2B2B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sp>
              <p:nvSpPr>
                <p:cNvPr id="218" name="Freeform 127">
                  <a:extLst>
                    <a:ext uri="{FF2B5EF4-FFF2-40B4-BE49-F238E27FC236}">
                      <a16:creationId xmlns:a16="http://schemas.microsoft.com/office/drawing/2014/main" id="{8E9F12A7-C006-4734-8120-647B0946A3AB}"/>
                    </a:ext>
                  </a:extLst>
                </p:cNvPr>
                <p:cNvSpPr>
                  <a:spLocks/>
                </p:cNvSpPr>
                <p:nvPr/>
              </p:nvSpPr>
              <p:spPr bwMode="gray">
                <a:xfrm>
                  <a:off x="3591" y="3118"/>
                  <a:ext cx="259" cy="218"/>
                </a:xfrm>
                <a:custGeom>
                  <a:avLst/>
                  <a:gdLst>
                    <a:gd name="T0" fmla="*/ 18 w 259"/>
                    <a:gd name="T1" fmla="*/ 2 h 218"/>
                    <a:gd name="T2" fmla="*/ 68 w 259"/>
                    <a:gd name="T3" fmla="*/ 26 h 218"/>
                    <a:gd name="T4" fmla="*/ 95 w 259"/>
                    <a:gd name="T5" fmla="*/ 32 h 218"/>
                    <a:gd name="T6" fmla="*/ 129 w 259"/>
                    <a:gd name="T7" fmla="*/ 38 h 218"/>
                    <a:gd name="T8" fmla="*/ 182 w 259"/>
                    <a:gd name="T9" fmla="*/ 40 h 218"/>
                    <a:gd name="T10" fmla="*/ 197 w 259"/>
                    <a:gd name="T11" fmla="*/ 34 h 218"/>
                    <a:gd name="T12" fmla="*/ 221 w 259"/>
                    <a:gd name="T13" fmla="*/ 22 h 218"/>
                    <a:gd name="T14" fmla="*/ 254 w 259"/>
                    <a:gd name="T15" fmla="*/ 20 h 218"/>
                    <a:gd name="T16" fmla="*/ 252 w 259"/>
                    <a:gd name="T17" fmla="*/ 62 h 218"/>
                    <a:gd name="T18" fmla="*/ 246 w 259"/>
                    <a:gd name="T19" fmla="*/ 94 h 218"/>
                    <a:gd name="T20" fmla="*/ 234 w 259"/>
                    <a:gd name="T21" fmla="*/ 113 h 218"/>
                    <a:gd name="T22" fmla="*/ 225 w 259"/>
                    <a:gd name="T23" fmla="*/ 134 h 218"/>
                    <a:gd name="T24" fmla="*/ 219 w 259"/>
                    <a:gd name="T25" fmla="*/ 148 h 218"/>
                    <a:gd name="T26" fmla="*/ 210 w 259"/>
                    <a:gd name="T27" fmla="*/ 170 h 218"/>
                    <a:gd name="T28" fmla="*/ 180 w 259"/>
                    <a:gd name="T29" fmla="*/ 175 h 218"/>
                    <a:gd name="T30" fmla="*/ 164 w 259"/>
                    <a:gd name="T31" fmla="*/ 187 h 218"/>
                    <a:gd name="T32" fmla="*/ 156 w 259"/>
                    <a:gd name="T33" fmla="*/ 193 h 218"/>
                    <a:gd name="T34" fmla="*/ 143 w 259"/>
                    <a:gd name="T35" fmla="*/ 209 h 218"/>
                    <a:gd name="T36" fmla="*/ 132 w 259"/>
                    <a:gd name="T37" fmla="*/ 218 h 218"/>
                    <a:gd name="T38" fmla="*/ 84 w 259"/>
                    <a:gd name="T39" fmla="*/ 206 h 218"/>
                    <a:gd name="T40" fmla="*/ 69 w 259"/>
                    <a:gd name="T41" fmla="*/ 191 h 218"/>
                    <a:gd name="T42" fmla="*/ 54 w 259"/>
                    <a:gd name="T43" fmla="*/ 178 h 218"/>
                    <a:gd name="T44" fmla="*/ 33 w 259"/>
                    <a:gd name="T45" fmla="*/ 149 h 218"/>
                    <a:gd name="T46" fmla="*/ 41 w 259"/>
                    <a:gd name="T47" fmla="*/ 124 h 218"/>
                    <a:gd name="T48" fmla="*/ 42 w 259"/>
                    <a:gd name="T49" fmla="*/ 112 h 218"/>
                    <a:gd name="T50" fmla="*/ 32 w 259"/>
                    <a:gd name="T51" fmla="*/ 94 h 218"/>
                    <a:gd name="T52" fmla="*/ 21 w 259"/>
                    <a:gd name="T53" fmla="*/ 76 h 218"/>
                    <a:gd name="T54" fmla="*/ 12 w 259"/>
                    <a:gd name="T55" fmla="*/ 65 h 218"/>
                    <a:gd name="T56" fmla="*/ 5 w 259"/>
                    <a:gd name="T57" fmla="*/ 52 h 218"/>
                    <a:gd name="T58" fmla="*/ 0 w 259"/>
                    <a:gd name="T59" fmla="*/ 31 h 218"/>
                    <a:gd name="T60" fmla="*/ 8 w 259"/>
                    <a:gd name="T61" fmla="*/ 7 h 218"/>
                    <a:gd name="T62" fmla="*/ 18 w 259"/>
                    <a:gd name="T63" fmla="*/ 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9" h="218">
                      <a:moveTo>
                        <a:pt x="18" y="2"/>
                      </a:moveTo>
                      <a:cubicBezTo>
                        <a:pt x="34" y="9"/>
                        <a:pt x="51" y="23"/>
                        <a:pt x="68" y="26"/>
                      </a:cubicBezTo>
                      <a:cubicBezTo>
                        <a:pt x="76" y="30"/>
                        <a:pt x="95" y="32"/>
                        <a:pt x="95" y="32"/>
                      </a:cubicBezTo>
                      <a:cubicBezTo>
                        <a:pt x="105" y="37"/>
                        <a:pt x="118" y="36"/>
                        <a:pt x="129" y="38"/>
                      </a:cubicBezTo>
                      <a:cubicBezTo>
                        <a:pt x="146" y="45"/>
                        <a:pt x="162" y="40"/>
                        <a:pt x="182" y="40"/>
                      </a:cubicBezTo>
                      <a:cubicBezTo>
                        <a:pt x="187" y="37"/>
                        <a:pt x="191" y="35"/>
                        <a:pt x="197" y="34"/>
                      </a:cubicBezTo>
                      <a:cubicBezTo>
                        <a:pt x="203" y="29"/>
                        <a:pt x="213" y="24"/>
                        <a:pt x="221" y="22"/>
                      </a:cubicBezTo>
                      <a:cubicBezTo>
                        <a:pt x="231" y="17"/>
                        <a:pt x="243" y="19"/>
                        <a:pt x="254" y="20"/>
                      </a:cubicBezTo>
                      <a:cubicBezTo>
                        <a:pt x="257" y="34"/>
                        <a:pt x="259" y="48"/>
                        <a:pt x="252" y="62"/>
                      </a:cubicBezTo>
                      <a:cubicBezTo>
                        <a:pt x="250" y="73"/>
                        <a:pt x="250" y="84"/>
                        <a:pt x="246" y="94"/>
                      </a:cubicBezTo>
                      <a:cubicBezTo>
                        <a:pt x="245" y="102"/>
                        <a:pt x="240" y="108"/>
                        <a:pt x="234" y="113"/>
                      </a:cubicBezTo>
                      <a:cubicBezTo>
                        <a:pt x="230" y="120"/>
                        <a:pt x="229" y="127"/>
                        <a:pt x="225" y="134"/>
                      </a:cubicBezTo>
                      <a:cubicBezTo>
                        <a:pt x="224" y="140"/>
                        <a:pt x="221" y="143"/>
                        <a:pt x="219" y="148"/>
                      </a:cubicBezTo>
                      <a:cubicBezTo>
                        <a:pt x="217" y="157"/>
                        <a:pt x="221" y="168"/>
                        <a:pt x="210" y="170"/>
                      </a:cubicBezTo>
                      <a:cubicBezTo>
                        <a:pt x="198" y="179"/>
                        <a:pt x="212" y="170"/>
                        <a:pt x="180" y="175"/>
                      </a:cubicBezTo>
                      <a:cubicBezTo>
                        <a:pt x="176" y="176"/>
                        <a:pt x="169" y="185"/>
                        <a:pt x="164" y="187"/>
                      </a:cubicBezTo>
                      <a:cubicBezTo>
                        <a:pt x="156" y="197"/>
                        <a:pt x="166" y="185"/>
                        <a:pt x="156" y="193"/>
                      </a:cubicBezTo>
                      <a:cubicBezTo>
                        <a:pt x="151" y="197"/>
                        <a:pt x="149" y="205"/>
                        <a:pt x="143" y="209"/>
                      </a:cubicBezTo>
                      <a:cubicBezTo>
                        <a:pt x="140" y="215"/>
                        <a:pt x="139" y="217"/>
                        <a:pt x="132" y="218"/>
                      </a:cubicBezTo>
                      <a:cubicBezTo>
                        <a:pt x="99" y="217"/>
                        <a:pt x="104" y="218"/>
                        <a:pt x="84" y="206"/>
                      </a:cubicBezTo>
                      <a:cubicBezTo>
                        <a:pt x="79" y="199"/>
                        <a:pt x="76" y="195"/>
                        <a:pt x="69" y="191"/>
                      </a:cubicBezTo>
                      <a:cubicBezTo>
                        <a:pt x="64" y="184"/>
                        <a:pt x="63" y="180"/>
                        <a:pt x="54" y="178"/>
                      </a:cubicBezTo>
                      <a:cubicBezTo>
                        <a:pt x="46" y="172"/>
                        <a:pt x="37" y="159"/>
                        <a:pt x="33" y="149"/>
                      </a:cubicBezTo>
                      <a:cubicBezTo>
                        <a:pt x="32" y="139"/>
                        <a:pt x="29" y="126"/>
                        <a:pt x="41" y="124"/>
                      </a:cubicBezTo>
                      <a:cubicBezTo>
                        <a:pt x="47" y="121"/>
                        <a:pt x="45" y="118"/>
                        <a:pt x="42" y="112"/>
                      </a:cubicBezTo>
                      <a:cubicBezTo>
                        <a:pt x="41" y="105"/>
                        <a:pt x="37" y="99"/>
                        <a:pt x="32" y="94"/>
                      </a:cubicBezTo>
                      <a:cubicBezTo>
                        <a:pt x="29" y="87"/>
                        <a:pt x="25" y="82"/>
                        <a:pt x="21" y="76"/>
                      </a:cubicBezTo>
                      <a:cubicBezTo>
                        <a:pt x="20" y="69"/>
                        <a:pt x="18" y="68"/>
                        <a:pt x="12" y="65"/>
                      </a:cubicBezTo>
                      <a:cubicBezTo>
                        <a:pt x="11" y="58"/>
                        <a:pt x="10" y="56"/>
                        <a:pt x="5" y="52"/>
                      </a:cubicBezTo>
                      <a:cubicBezTo>
                        <a:pt x="2" y="45"/>
                        <a:pt x="1" y="38"/>
                        <a:pt x="0" y="31"/>
                      </a:cubicBezTo>
                      <a:cubicBezTo>
                        <a:pt x="2" y="20"/>
                        <a:pt x="0" y="13"/>
                        <a:pt x="8" y="7"/>
                      </a:cubicBezTo>
                      <a:cubicBezTo>
                        <a:pt x="12" y="0"/>
                        <a:pt x="9" y="2"/>
                        <a:pt x="18" y="2"/>
                      </a:cubicBezTo>
                      <a:close/>
                    </a:path>
                  </a:pathLst>
                </a:custGeom>
                <a:grpFill/>
                <a:ln w="9525">
                  <a:solidFill>
                    <a:srgbClr val="B2B2B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206" fontAlgn="base">
                    <a:spcBef>
                      <a:spcPct val="0"/>
                    </a:spcBef>
                    <a:spcAft>
                      <a:spcPct val="0"/>
                    </a:spcAft>
                    <a:defRPr/>
                  </a:pPr>
                  <a:endParaRPr lang="en-US" sz="1600">
                    <a:solidFill>
                      <a:srgbClr val="000000"/>
                    </a:solidFill>
                    <a:latin typeface="Calibri" panose="020F0502020204030204" pitchFamily="34" charset="0"/>
                    <a:cs typeface="Calibri" panose="020F0502020204030204" pitchFamily="34" charset="0"/>
                  </a:endParaRPr>
                </a:p>
              </p:txBody>
            </p:sp>
          </p:grpSp>
        </p:grpSp>
        <p:sp>
          <p:nvSpPr>
            <p:cNvPr id="117" name="Rectangle 12">
              <a:extLst>
                <a:ext uri="{FF2B5EF4-FFF2-40B4-BE49-F238E27FC236}">
                  <a16:creationId xmlns:a16="http://schemas.microsoft.com/office/drawing/2014/main" id="{9A5736C1-51A8-4661-BE6B-F7EE1E260FC2}"/>
                </a:ext>
              </a:extLst>
            </p:cNvPr>
            <p:cNvSpPr>
              <a:spLocks noChangeArrowheads="1"/>
            </p:cNvSpPr>
            <p:nvPr/>
          </p:nvSpPr>
          <p:spPr bwMode="gray">
            <a:xfrm>
              <a:off x="1620838" y="1075731"/>
              <a:ext cx="1746250" cy="694322"/>
            </a:xfrm>
            <a:prstGeom prst="rect">
              <a:avLst/>
            </a:prstGeom>
            <a:solidFill>
              <a:schemeClr val="accent2"/>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lIns="77722" tIns="77722" rIns="77722" bIns="77722" anchor="ctr"/>
            <a:lstStyle>
              <a:lvl1pPr marL="342900" indent="-34290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marL="1143000" indent="-228600" defTabSz="912813">
                <a:defRPr>
                  <a:solidFill>
                    <a:schemeClr val="tx1"/>
                  </a:solidFill>
                  <a:latin typeface="Calibri" panose="020F0502020204030204" pitchFamily="34" charset="0"/>
                  <a:cs typeface="Arial" panose="020B0604020202020204" pitchFamily="34" charset="0"/>
                </a:defRPr>
              </a:lvl3pPr>
              <a:lvl4pPr marL="1600200" indent="-228600" defTabSz="912813">
                <a:defRPr>
                  <a:solidFill>
                    <a:schemeClr val="tx1"/>
                  </a:solidFill>
                  <a:latin typeface="Calibri" panose="020F0502020204030204" pitchFamily="34" charset="0"/>
                  <a:cs typeface="Arial" panose="020B0604020202020204" pitchFamily="34" charset="0"/>
                </a:defRPr>
              </a:lvl4pPr>
              <a:lvl5pPr marL="2057400" indent="-228600" defTabSz="912813">
                <a:defRPr>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lvl="1" fontAlgn="base">
                <a:spcBef>
                  <a:spcPct val="0"/>
                </a:spcBef>
                <a:spcAft>
                  <a:spcPct val="0"/>
                </a:spcAft>
              </a:pPr>
              <a:r>
                <a:rPr lang="tr-TR" altLang="ja-JP" sz="1300" b="1" dirty="0">
                  <a:solidFill>
                    <a:srgbClr val="FFFFFF"/>
                  </a:solidFill>
                  <a:ea typeface="ＭＳ Ｐゴシック" panose="020B0600070205080204" pitchFamily="34" charset="-128"/>
                  <a:cs typeface="Calibri" panose="020F0502020204030204" pitchFamily="34" charset="0"/>
                </a:rPr>
                <a:t>Petrol Çıkarma</a:t>
              </a:r>
              <a:endParaRPr lang="en-US" altLang="ja-JP" sz="1300" b="1" dirty="0">
                <a:solidFill>
                  <a:srgbClr val="FFFFFF"/>
                </a:solidFill>
                <a:ea typeface="ＭＳ Ｐゴシック" panose="020B0600070205080204" pitchFamily="34" charset="-128"/>
                <a:cs typeface="Calibri" panose="020F0502020204030204" pitchFamily="34" charset="0"/>
              </a:endParaRPr>
            </a:p>
          </p:txBody>
        </p:sp>
        <p:sp>
          <p:nvSpPr>
            <p:cNvPr id="118" name="Rectangle 12">
              <a:extLst>
                <a:ext uri="{FF2B5EF4-FFF2-40B4-BE49-F238E27FC236}">
                  <a16:creationId xmlns:a16="http://schemas.microsoft.com/office/drawing/2014/main" id="{0BA331F3-1261-43A2-83C6-30E8C05A6595}"/>
                </a:ext>
              </a:extLst>
            </p:cNvPr>
            <p:cNvSpPr>
              <a:spLocks noChangeArrowheads="1"/>
            </p:cNvSpPr>
            <p:nvPr/>
          </p:nvSpPr>
          <p:spPr bwMode="gray">
            <a:xfrm>
              <a:off x="3425825" y="1075731"/>
              <a:ext cx="1747837" cy="715289"/>
            </a:xfrm>
            <a:prstGeom prst="rect">
              <a:avLst/>
            </a:prstGeom>
            <a:solidFill>
              <a:schemeClr val="accent2"/>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lIns="77722" tIns="77722" rIns="77722" bIns="77722" anchor="ctr"/>
            <a:lstStyle>
              <a:lvl1pPr marL="342900" indent="-34290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marL="1143000" indent="-228600" defTabSz="912813">
                <a:defRPr>
                  <a:solidFill>
                    <a:schemeClr val="tx1"/>
                  </a:solidFill>
                  <a:latin typeface="Calibri" panose="020F0502020204030204" pitchFamily="34" charset="0"/>
                  <a:cs typeface="Arial" panose="020B0604020202020204" pitchFamily="34" charset="0"/>
                </a:defRPr>
              </a:lvl3pPr>
              <a:lvl4pPr marL="1600200" indent="-228600" defTabSz="912813">
                <a:defRPr>
                  <a:solidFill>
                    <a:schemeClr val="tx1"/>
                  </a:solidFill>
                  <a:latin typeface="Calibri" panose="020F0502020204030204" pitchFamily="34" charset="0"/>
                  <a:cs typeface="Arial" panose="020B0604020202020204" pitchFamily="34" charset="0"/>
                </a:defRPr>
              </a:lvl4pPr>
              <a:lvl5pPr marL="2057400" indent="-228600" defTabSz="912813">
                <a:defRPr>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lvl="1" fontAlgn="base">
                <a:spcBef>
                  <a:spcPct val="0"/>
                </a:spcBef>
                <a:spcAft>
                  <a:spcPct val="0"/>
                </a:spcAft>
              </a:pPr>
              <a:r>
                <a:rPr lang="tr-TR" altLang="ja-JP" sz="1300" b="1" dirty="0">
                  <a:solidFill>
                    <a:srgbClr val="FFFFFF"/>
                  </a:solidFill>
                  <a:ea typeface="ＭＳ Ｐゴシック" panose="020B0600070205080204" pitchFamily="34" charset="-128"/>
                  <a:cs typeface="Calibri" panose="020F0502020204030204" pitchFamily="34" charset="0"/>
                </a:rPr>
                <a:t>Boru Hatları</a:t>
              </a:r>
              <a:endParaRPr lang="en-US" altLang="ja-JP" sz="1300" b="1" dirty="0">
                <a:solidFill>
                  <a:srgbClr val="FFFFFF"/>
                </a:solidFill>
                <a:ea typeface="ＭＳ Ｐゴシック" panose="020B0600070205080204" pitchFamily="34" charset="-128"/>
                <a:cs typeface="Calibri" panose="020F0502020204030204" pitchFamily="34" charset="0"/>
              </a:endParaRPr>
            </a:p>
          </p:txBody>
        </p:sp>
        <p:sp>
          <p:nvSpPr>
            <p:cNvPr id="119" name="Rectangle 12">
              <a:extLst>
                <a:ext uri="{FF2B5EF4-FFF2-40B4-BE49-F238E27FC236}">
                  <a16:creationId xmlns:a16="http://schemas.microsoft.com/office/drawing/2014/main" id="{18AFFEE3-3498-4CCA-8A26-F5E43A1ED0F1}"/>
                </a:ext>
              </a:extLst>
            </p:cNvPr>
            <p:cNvSpPr>
              <a:spLocks noChangeArrowheads="1"/>
            </p:cNvSpPr>
            <p:nvPr/>
          </p:nvSpPr>
          <p:spPr bwMode="gray">
            <a:xfrm>
              <a:off x="5232400" y="1075731"/>
              <a:ext cx="1747837" cy="715289"/>
            </a:xfrm>
            <a:prstGeom prst="rect">
              <a:avLst/>
            </a:prstGeom>
            <a:solidFill>
              <a:schemeClr val="accent2"/>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lIns="77722" tIns="77722" rIns="77722" bIns="77722" anchor="ctr"/>
            <a:lstStyle>
              <a:lvl1pPr marL="342900" indent="-34290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marL="1143000" indent="-228600" defTabSz="912813">
                <a:defRPr>
                  <a:solidFill>
                    <a:schemeClr val="tx1"/>
                  </a:solidFill>
                  <a:latin typeface="Calibri" panose="020F0502020204030204" pitchFamily="34" charset="0"/>
                  <a:cs typeface="Arial" panose="020B0604020202020204" pitchFamily="34" charset="0"/>
                </a:defRPr>
              </a:lvl3pPr>
              <a:lvl4pPr marL="1600200" indent="-228600" defTabSz="912813">
                <a:defRPr>
                  <a:solidFill>
                    <a:schemeClr val="tx1"/>
                  </a:solidFill>
                  <a:latin typeface="Calibri" panose="020F0502020204030204" pitchFamily="34" charset="0"/>
                  <a:cs typeface="Arial" panose="020B0604020202020204" pitchFamily="34" charset="0"/>
                </a:defRPr>
              </a:lvl4pPr>
              <a:lvl5pPr marL="2057400" indent="-228600" defTabSz="912813">
                <a:defRPr>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lvl="1" fontAlgn="base">
                <a:spcBef>
                  <a:spcPct val="0"/>
                </a:spcBef>
                <a:spcAft>
                  <a:spcPct val="0"/>
                </a:spcAft>
              </a:pPr>
              <a:r>
                <a:rPr lang="en-US" altLang="ja-JP" sz="1300" b="1" dirty="0">
                  <a:solidFill>
                    <a:srgbClr val="FFFFFF"/>
                  </a:solidFill>
                  <a:ea typeface="ＭＳ Ｐゴシック" panose="020B0600070205080204" pitchFamily="34" charset="-128"/>
                  <a:cs typeface="Calibri" panose="020F0502020204030204" pitchFamily="34" charset="0"/>
                </a:rPr>
                <a:t>R</a:t>
              </a:r>
              <a:r>
                <a:rPr lang="tr-TR" altLang="ja-JP" sz="1300" b="1" dirty="0" err="1">
                  <a:solidFill>
                    <a:srgbClr val="FFFFFF"/>
                  </a:solidFill>
                  <a:ea typeface="ＭＳ Ｐゴシック" panose="020B0600070205080204" pitchFamily="34" charset="-128"/>
                  <a:cs typeface="Calibri" panose="020F0502020204030204" pitchFamily="34" charset="0"/>
                </a:rPr>
                <a:t>afineri</a:t>
              </a:r>
              <a:r>
                <a:rPr lang="tr-TR" altLang="ja-JP" sz="1300" b="1" dirty="0">
                  <a:solidFill>
                    <a:srgbClr val="FFFFFF"/>
                  </a:solidFill>
                  <a:ea typeface="ＭＳ Ｐゴシック" panose="020B0600070205080204" pitchFamily="34" charset="-128"/>
                  <a:cs typeface="Calibri" panose="020F0502020204030204" pitchFamily="34" charset="0"/>
                </a:rPr>
                <a:t> &amp; </a:t>
              </a:r>
            </a:p>
            <a:p>
              <a:pPr marL="0" lvl="1" fontAlgn="base">
                <a:spcBef>
                  <a:spcPct val="0"/>
                </a:spcBef>
                <a:spcAft>
                  <a:spcPct val="0"/>
                </a:spcAft>
              </a:pPr>
              <a:r>
                <a:rPr lang="tr-TR" altLang="ja-JP" sz="1300" b="1" dirty="0" err="1">
                  <a:solidFill>
                    <a:srgbClr val="FFFFFF"/>
                  </a:solidFill>
                  <a:ea typeface="ＭＳ Ｐゴシック" panose="020B0600070205080204" pitchFamily="34" charset="-128"/>
                  <a:cs typeface="Calibri" panose="020F0502020204030204" pitchFamily="34" charset="0"/>
                </a:rPr>
                <a:t>PetroKimya</a:t>
              </a:r>
              <a:endParaRPr lang="en-US" altLang="ja-JP" sz="1300" b="1" dirty="0">
                <a:solidFill>
                  <a:srgbClr val="FFFFFF"/>
                </a:solidFill>
                <a:ea typeface="ＭＳ Ｐゴシック" panose="020B0600070205080204" pitchFamily="34" charset="-128"/>
                <a:cs typeface="Calibri" panose="020F0502020204030204" pitchFamily="34" charset="0"/>
              </a:endParaRPr>
            </a:p>
          </p:txBody>
        </p:sp>
        <p:sp>
          <p:nvSpPr>
            <p:cNvPr id="120" name="Rectangle 12">
              <a:extLst>
                <a:ext uri="{FF2B5EF4-FFF2-40B4-BE49-F238E27FC236}">
                  <a16:creationId xmlns:a16="http://schemas.microsoft.com/office/drawing/2014/main" id="{78B5D4FB-1997-460A-AC24-DABE98F7FB53}"/>
                </a:ext>
              </a:extLst>
            </p:cNvPr>
            <p:cNvSpPr>
              <a:spLocks noChangeArrowheads="1"/>
            </p:cNvSpPr>
            <p:nvPr/>
          </p:nvSpPr>
          <p:spPr bwMode="gray">
            <a:xfrm>
              <a:off x="7038975" y="1075731"/>
              <a:ext cx="1747837" cy="718815"/>
            </a:xfrm>
            <a:prstGeom prst="rect">
              <a:avLst/>
            </a:prstGeom>
            <a:solidFill>
              <a:schemeClr val="accent2"/>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lIns="77722" tIns="77722" rIns="77722" bIns="77722" anchor="ctr"/>
            <a:lstStyle>
              <a:lvl1pPr marL="342900" indent="-34290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marL="1143000" indent="-228600" defTabSz="912813">
                <a:defRPr>
                  <a:solidFill>
                    <a:schemeClr val="tx1"/>
                  </a:solidFill>
                  <a:latin typeface="Calibri" panose="020F0502020204030204" pitchFamily="34" charset="0"/>
                  <a:cs typeface="Arial" panose="020B0604020202020204" pitchFamily="34" charset="0"/>
                </a:defRPr>
              </a:lvl3pPr>
              <a:lvl4pPr marL="1600200" indent="-228600" defTabSz="912813">
                <a:defRPr>
                  <a:solidFill>
                    <a:schemeClr val="tx1"/>
                  </a:solidFill>
                  <a:latin typeface="Calibri" panose="020F0502020204030204" pitchFamily="34" charset="0"/>
                  <a:cs typeface="Arial" panose="020B0604020202020204" pitchFamily="34" charset="0"/>
                </a:defRPr>
              </a:lvl4pPr>
              <a:lvl5pPr marL="2057400" indent="-228600" defTabSz="912813">
                <a:defRPr>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lvl="1" fontAlgn="base">
                <a:spcBef>
                  <a:spcPct val="0"/>
                </a:spcBef>
                <a:spcAft>
                  <a:spcPct val="0"/>
                </a:spcAft>
              </a:pPr>
              <a:r>
                <a:rPr lang="tr-TR" altLang="ja-JP" sz="1300" b="1" dirty="0">
                  <a:solidFill>
                    <a:srgbClr val="FFFFFF"/>
                  </a:solidFill>
                  <a:ea typeface="ＭＳ Ｐゴシック" panose="020B0600070205080204" pitchFamily="34" charset="-128"/>
                  <a:cs typeface="Calibri" panose="020F0502020204030204" pitchFamily="34" charset="0"/>
                </a:rPr>
                <a:t>Tedarik Zinciri &amp;</a:t>
              </a:r>
            </a:p>
            <a:p>
              <a:pPr marL="0" lvl="1" fontAlgn="base">
                <a:spcBef>
                  <a:spcPct val="0"/>
                </a:spcBef>
                <a:spcAft>
                  <a:spcPct val="0"/>
                </a:spcAft>
              </a:pPr>
              <a:r>
                <a:rPr lang="tr-TR" altLang="ja-JP" sz="1300" b="1" dirty="0">
                  <a:solidFill>
                    <a:srgbClr val="FFFFFF"/>
                  </a:solidFill>
                  <a:ea typeface="ＭＳ Ｐゴシック" panose="020B0600070205080204" pitchFamily="34" charset="-128"/>
                  <a:cs typeface="Calibri" panose="020F0502020204030204" pitchFamily="34" charset="0"/>
                </a:rPr>
                <a:t> Ticaret</a:t>
              </a:r>
              <a:endParaRPr lang="en-US" altLang="ja-JP" sz="1300" b="1" dirty="0">
                <a:solidFill>
                  <a:srgbClr val="FFFFFF"/>
                </a:solidFill>
                <a:ea typeface="ＭＳ Ｐゴシック" panose="020B0600070205080204" pitchFamily="34" charset="-128"/>
                <a:cs typeface="Calibri" panose="020F0502020204030204" pitchFamily="34" charset="0"/>
              </a:endParaRPr>
            </a:p>
          </p:txBody>
        </p:sp>
        <p:sp>
          <p:nvSpPr>
            <p:cNvPr id="121" name="Rectangle 12">
              <a:extLst>
                <a:ext uri="{FF2B5EF4-FFF2-40B4-BE49-F238E27FC236}">
                  <a16:creationId xmlns:a16="http://schemas.microsoft.com/office/drawing/2014/main" id="{680DB2EB-96B0-4AB5-8203-B97CFB3D0A35}"/>
                </a:ext>
              </a:extLst>
            </p:cNvPr>
            <p:cNvSpPr>
              <a:spLocks noChangeArrowheads="1"/>
            </p:cNvSpPr>
            <p:nvPr/>
          </p:nvSpPr>
          <p:spPr bwMode="gray">
            <a:xfrm>
              <a:off x="8845549" y="1075731"/>
              <a:ext cx="1746250" cy="694322"/>
            </a:xfrm>
            <a:prstGeom prst="rect">
              <a:avLst/>
            </a:prstGeom>
            <a:solidFill>
              <a:schemeClr val="accent2"/>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lIns="77722" tIns="77722" rIns="77722" bIns="77722" anchor="ctr"/>
            <a:lstStyle>
              <a:lvl1pPr marL="342900" indent="-342900" defTabSz="912813">
                <a:defRPr>
                  <a:solidFill>
                    <a:schemeClr val="tx1"/>
                  </a:solidFill>
                  <a:latin typeface="Calibri" panose="020F0502020204030204" pitchFamily="34" charset="0"/>
                  <a:cs typeface="Arial" panose="020B0604020202020204" pitchFamily="34" charset="0"/>
                </a:defRPr>
              </a:lvl1pPr>
              <a:lvl2pPr defTabSz="912813">
                <a:defRPr>
                  <a:solidFill>
                    <a:schemeClr val="tx1"/>
                  </a:solidFill>
                  <a:latin typeface="Calibri" panose="020F0502020204030204" pitchFamily="34" charset="0"/>
                  <a:cs typeface="Arial" panose="020B0604020202020204" pitchFamily="34" charset="0"/>
                </a:defRPr>
              </a:lvl2pPr>
              <a:lvl3pPr marL="1143000" indent="-228600" defTabSz="912813">
                <a:defRPr>
                  <a:solidFill>
                    <a:schemeClr val="tx1"/>
                  </a:solidFill>
                  <a:latin typeface="Calibri" panose="020F0502020204030204" pitchFamily="34" charset="0"/>
                  <a:cs typeface="Arial" panose="020B0604020202020204" pitchFamily="34" charset="0"/>
                </a:defRPr>
              </a:lvl3pPr>
              <a:lvl4pPr marL="1600200" indent="-228600" defTabSz="912813">
                <a:defRPr>
                  <a:solidFill>
                    <a:schemeClr val="tx1"/>
                  </a:solidFill>
                  <a:latin typeface="Calibri" panose="020F0502020204030204" pitchFamily="34" charset="0"/>
                  <a:cs typeface="Arial" panose="020B0604020202020204" pitchFamily="34" charset="0"/>
                </a:defRPr>
              </a:lvl4pPr>
              <a:lvl5pPr marL="2057400" indent="-228600" defTabSz="912813">
                <a:defRPr>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lvl="1" fontAlgn="base">
                <a:spcBef>
                  <a:spcPct val="0"/>
                </a:spcBef>
                <a:spcAft>
                  <a:spcPct val="0"/>
                </a:spcAft>
              </a:pPr>
              <a:r>
                <a:rPr lang="tr-TR" altLang="ja-JP" sz="1300" b="1" dirty="0">
                  <a:solidFill>
                    <a:srgbClr val="FFFFFF"/>
                  </a:solidFill>
                  <a:ea typeface="ＭＳ Ｐゴシック" panose="020B0600070205080204" pitchFamily="34" charset="-128"/>
                  <a:cs typeface="Calibri" panose="020F0502020204030204" pitchFamily="34" charset="0"/>
                </a:rPr>
                <a:t>Satış ve Dağıtım</a:t>
              </a:r>
              <a:endParaRPr lang="en-US" altLang="ja-JP" sz="1300" b="1" dirty="0">
                <a:solidFill>
                  <a:srgbClr val="FFFFFF"/>
                </a:solidFill>
                <a:ea typeface="ＭＳ Ｐゴシック" panose="020B0600070205080204" pitchFamily="34" charset="-128"/>
                <a:cs typeface="Calibri" panose="020F0502020204030204" pitchFamily="34" charset="0"/>
              </a:endParaRPr>
            </a:p>
          </p:txBody>
        </p:sp>
        <p:pic>
          <p:nvPicPr>
            <p:cNvPr id="122" name="Picture 123">
              <a:extLst>
                <a:ext uri="{FF2B5EF4-FFF2-40B4-BE49-F238E27FC236}">
                  <a16:creationId xmlns:a16="http://schemas.microsoft.com/office/drawing/2014/main" id="{5864DB40-33DF-477F-96EF-608BBFA5E36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16545" y="1841215"/>
              <a:ext cx="1593850" cy="127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125">
              <a:extLst>
                <a:ext uri="{FF2B5EF4-FFF2-40B4-BE49-F238E27FC236}">
                  <a16:creationId xmlns:a16="http://schemas.microsoft.com/office/drawing/2014/main" id="{56E7C5D6-62B2-41AE-984B-470ED85D38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93767" y="1882870"/>
              <a:ext cx="1592262" cy="127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26">
              <a:extLst>
                <a:ext uri="{FF2B5EF4-FFF2-40B4-BE49-F238E27FC236}">
                  <a16:creationId xmlns:a16="http://schemas.microsoft.com/office/drawing/2014/main" id="{6A4FA37F-E71C-4E79-BC37-F372A98E0DBC}"/>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115175" y="1878733"/>
              <a:ext cx="1593850" cy="127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2" descr="\\10.250.1.18\STCHGFiles\Economics\Investments\18. Pudding\2. Transition\8. Communications\4. Dealer communications\SOCAR station pictures\Nightly\DSC_0019.JPG">
              <a:extLst>
                <a:ext uri="{FF2B5EF4-FFF2-40B4-BE49-F238E27FC236}">
                  <a16:creationId xmlns:a16="http://schemas.microsoft.com/office/drawing/2014/main" id="{777FE51D-B0CE-400B-9EAE-AB90FDA332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21751" y="1882307"/>
              <a:ext cx="1593850" cy="127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128">
              <a:extLst>
                <a:ext uri="{FF2B5EF4-FFF2-40B4-BE49-F238E27FC236}">
                  <a16:creationId xmlns:a16="http://schemas.microsoft.com/office/drawing/2014/main" id="{CA236A00-5CBD-471F-8B12-73C76C9FAE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70895" y="1853745"/>
              <a:ext cx="1612900" cy="127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7" name="TextBox 210">
              <a:extLst>
                <a:ext uri="{FF2B5EF4-FFF2-40B4-BE49-F238E27FC236}">
                  <a16:creationId xmlns:a16="http://schemas.microsoft.com/office/drawing/2014/main" id="{0DA94C52-70C5-4792-99EC-E82A60AD8532}"/>
                </a:ext>
              </a:extLst>
            </p:cNvPr>
            <p:cNvSpPr txBox="1"/>
            <p:nvPr/>
          </p:nvSpPr>
          <p:spPr>
            <a:xfrm>
              <a:off x="1687513" y="3155950"/>
              <a:ext cx="1579562" cy="3758520"/>
            </a:xfrm>
            <a:prstGeom prst="rect">
              <a:avLst/>
            </a:prstGeom>
          </p:spPr>
          <p:txBody>
            <a:bodyPr lIns="0" tIns="0" rIns="0" bIns="0">
              <a:sp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3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20000"/>
                </a:spcBef>
                <a:spcAft>
                  <a:spcPct val="0"/>
                </a:spcAft>
                <a:buClr>
                  <a:srgbClr val="004A23"/>
                </a:buClr>
                <a:defRPr/>
              </a:pPr>
              <a:r>
                <a:rPr lang="tr-TR" sz="1200" b="1" dirty="0">
                  <a:solidFill>
                    <a:srgbClr val="000000"/>
                  </a:solidFill>
                  <a:latin typeface="Calibri" panose="020F0502020204030204" pitchFamily="34" charset="0"/>
                  <a:cs typeface="Calibri" panose="020F0502020204030204" pitchFamily="34" charset="0"/>
                </a:rPr>
                <a:t>Petrol</a:t>
              </a:r>
              <a:r>
                <a:rPr lang="en-US" sz="1200" b="1" dirty="0">
                  <a:solidFill>
                    <a:srgbClr val="000000"/>
                  </a:solidFill>
                  <a:latin typeface="Calibri" panose="020F0502020204030204" pitchFamily="34" charset="0"/>
                  <a:cs typeface="Calibri" panose="020F0502020204030204" pitchFamily="34" charset="0"/>
                </a:rPr>
                <a:t>:</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Azeri</a:t>
              </a:r>
              <a:endParaRPr lang="tr-TR" sz="1200" dirty="0">
                <a:solidFill>
                  <a:srgbClr val="000000"/>
                </a:solidFill>
                <a:latin typeface="Calibri" panose="020F0502020204030204" pitchFamily="34" charset="0"/>
                <a:cs typeface="Calibri" panose="020F0502020204030204" pitchFamily="34" charset="0"/>
              </a:endParaRP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Chirag</a:t>
              </a:r>
              <a:endParaRPr lang="tr-TR" sz="1200" dirty="0">
                <a:solidFill>
                  <a:srgbClr val="000000"/>
                </a:solidFill>
                <a:latin typeface="Calibri" panose="020F0502020204030204" pitchFamily="34" charset="0"/>
                <a:cs typeface="Calibri" panose="020F0502020204030204" pitchFamily="34" charset="0"/>
              </a:endParaRP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Gunashli (ACG)</a:t>
              </a:r>
              <a:endParaRPr lang="tr-TR" sz="1200" dirty="0">
                <a:solidFill>
                  <a:srgbClr val="000000"/>
                </a:solidFill>
                <a:latin typeface="Calibri" panose="020F0502020204030204" pitchFamily="34" charset="0"/>
                <a:cs typeface="Calibri" panose="020F0502020204030204" pitchFamily="34" charset="0"/>
              </a:endParaRP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Oil Rigs</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Oily Rocks</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Oil Reservoir</a:t>
              </a:r>
            </a:p>
            <a:p>
              <a:pPr marL="370799" lvl="2" indent="-171637"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Auxilary</a:t>
              </a:r>
              <a:r>
                <a:rPr lang="en-US" sz="1200" dirty="0">
                  <a:solidFill>
                    <a:srgbClr val="000000"/>
                  </a:solidFill>
                  <a:latin typeface="Calibri" panose="020F0502020204030204" pitchFamily="34" charset="0"/>
                  <a:cs typeface="Calibri" panose="020F0502020204030204" pitchFamily="34" charset="0"/>
                </a:rPr>
                <a:t> Plants</a:t>
              </a:r>
            </a:p>
            <a:p>
              <a:pPr lvl="1" fontAlgn="base">
                <a:spcBef>
                  <a:spcPct val="20000"/>
                </a:spcBef>
                <a:spcAft>
                  <a:spcPct val="0"/>
                </a:spcAft>
                <a:buClr>
                  <a:srgbClr val="004A23"/>
                </a:buClr>
                <a:defRPr/>
              </a:pPr>
              <a:r>
                <a:rPr lang="en-US" sz="1200" b="1" dirty="0">
                  <a:solidFill>
                    <a:srgbClr val="000000"/>
                  </a:solidFill>
                  <a:latin typeface="Calibri" panose="020F0502020204030204" pitchFamily="34" charset="0"/>
                  <a:cs typeface="Calibri" panose="020F0502020204030204" pitchFamily="34" charset="0"/>
                </a:rPr>
                <a:t>Ga</a:t>
              </a:r>
              <a:r>
                <a:rPr lang="tr-TR" sz="1200" b="1" dirty="0">
                  <a:solidFill>
                    <a:srgbClr val="000000"/>
                  </a:solidFill>
                  <a:latin typeface="Calibri" panose="020F0502020204030204" pitchFamily="34" charset="0"/>
                  <a:cs typeface="Calibri" panose="020F0502020204030204" pitchFamily="34" charset="0"/>
                </a:rPr>
                <a:t>z</a:t>
              </a:r>
              <a:r>
                <a:rPr lang="en-US" sz="1200" b="1" dirty="0">
                  <a:solidFill>
                    <a:srgbClr val="000000"/>
                  </a:solidFill>
                  <a:latin typeface="Calibri" panose="020F0502020204030204" pitchFamily="34" charset="0"/>
                  <a:cs typeface="Calibri" panose="020F0502020204030204" pitchFamily="34" charset="0"/>
                </a:rPr>
                <a:t>:</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Shah-Deniz</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Absheron</a:t>
              </a:r>
            </a:p>
            <a:p>
              <a:pPr marL="370799" lvl="2" indent="-171637"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Umit</a:t>
              </a:r>
              <a:endParaRPr lang="en-US" sz="1200" dirty="0">
                <a:solidFill>
                  <a:srgbClr val="000000"/>
                </a:solidFill>
                <a:latin typeface="Calibri" panose="020F0502020204030204" pitchFamily="34" charset="0"/>
                <a:cs typeface="Calibri" panose="020F0502020204030204" pitchFamily="34" charset="0"/>
              </a:endParaRPr>
            </a:p>
          </p:txBody>
        </p:sp>
        <p:sp>
          <p:nvSpPr>
            <p:cNvPr id="128" name="TextBox 139">
              <a:extLst>
                <a:ext uri="{FF2B5EF4-FFF2-40B4-BE49-F238E27FC236}">
                  <a16:creationId xmlns:a16="http://schemas.microsoft.com/office/drawing/2014/main" id="{50686891-76D0-4A18-A5CB-F8EC94012134}"/>
                </a:ext>
              </a:extLst>
            </p:cNvPr>
            <p:cNvSpPr txBox="1">
              <a:spLocks noChangeArrowheads="1"/>
            </p:cNvSpPr>
            <p:nvPr/>
          </p:nvSpPr>
          <p:spPr bwMode="auto">
            <a:xfrm>
              <a:off x="3500438" y="3155950"/>
              <a:ext cx="1579562" cy="3701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25438" indent="-325438" defTabSz="895350">
                <a:spcBef>
                  <a:spcPct val="20000"/>
                </a:spcBef>
                <a:buFont typeface="Arial" panose="020B0604020202020204" pitchFamily="34" charset="0"/>
                <a:buChar char="•"/>
                <a:defRPr sz="3000">
                  <a:solidFill>
                    <a:schemeClr val="tx1"/>
                  </a:solidFill>
                  <a:latin typeface="Calibri" panose="020F0502020204030204" pitchFamily="34" charset="0"/>
                </a:defRPr>
              </a:lvl1pPr>
              <a:lvl2pPr marL="193675" indent="-192088" defTabSz="895350">
                <a:spcBef>
                  <a:spcPct val="20000"/>
                </a:spcBef>
                <a:buFont typeface="Arial" panose="020B0604020202020204" pitchFamily="34" charset="0"/>
                <a:buChar char="–"/>
                <a:defRPr sz="2700">
                  <a:solidFill>
                    <a:schemeClr val="tx1"/>
                  </a:solidFill>
                  <a:latin typeface="Calibri" panose="020F0502020204030204" pitchFamily="34" charset="0"/>
                </a:defRPr>
              </a:lvl2pPr>
              <a:lvl3pPr marL="369888" indent="-171450" defTabSz="895350">
                <a:spcBef>
                  <a:spcPct val="20000"/>
                </a:spcBef>
                <a:buFont typeface="Arial" panose="020B0604020202020204" pitchFamily="34" charset="0"/>
                <a:buChar char="•"/>
                <a:defRPr sz="2300">
                  <a:solidFill>
                    <a:schemeClr val="tx1"/>
                  </a:solidFill>
                  <a:latin typeface="Calibri" panose="020F0502020204030204" pitchFamily="34" charset="0"/>
                </a:defRPr>
              </a:lvl3pPr>
              <a:lvl4pPr marL="614363" indent="-155575" defTabSz="895350">
                <a:spcBef>
                  <a:spcPct val="20000"/>
                </a:spcBef>
                <a:buFont typeface="Arial" panose="020B0604020202020204" pitchFamily="34" charset="0"/>
                <a:buChar char="–"/>
                <a:defRPr sz="1900">
                  <a:solidFill>
                    <a:schemeClr val="tx1"/>
                  </a:solidFill>
                  <a:latin typeface="Calibri" panose="020F0502020204030204" pitchFamily="34" charset="0"/>
                </a:defRPr>
              </a:lvl4pPr>
              <a:lvl5pPr marL="749300" indent="-130175" defTabSz="895350">
                <a:spcBef>
                  <a:spcPct val="20000"/>
                </a:spcBef>
                <a:buFont typeface="Arial" panose="020B0604020202020204" pitchFamily="34" charset="0"/>
                <a:buChar char="»"/>
                <a:defRPr sz="1900">
                  <a:solidFill>
                    <a:schemeClr val="tx1"/>
                  </a:solidFill>
                  <a:latin typeface="Calibri" panose="020F0502020204030204" pitchFamily="34" charset="0"/>
                </a:defRPr>
              </a:lvl5pPr>
              <a:lvl6pPr marL="12065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6pPr>
              <a:lvl7pPr marL="16637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7pPr>
              <a:lvl8pPr marL="21209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8pPr>
              <a:lvl9pPr marL="25781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9pPr>
            </a:lstStyle>
            <a:p>
              <a:pPr lvl="1" fontAlgn="base">
                <a:spcAft>
                  <a:spcPct val="0"/>
                </a:spcAft>
                <a:buClr>
                  <a:srgbClr val="004A23"/>
                </a:buClr>
                <a:buSzPct val="125000"/>
                <a:buFont typeface="Arial" panose="020B0604020202020204" pitchFamily="34" charset="0"/>
                <a:buChar char="▪"/>
              </a:pPr>
              <a:r>
                <a:rPr lang="tr-TR" altLang="tr-TR" sz="1200" b="1" dirty="0">
                  <a:solidFill>
                    <a:srgbClr val="000000"/>
                  </a:solidFill>
                  <a:cs typeface="Calibri" panose="020F0502020204030204" pitchFamily="34" charset="0"/>
                </a:rPr>
                <a:t>Petrol</a:t>
              </a:r>
              <a:r>
                <a:rPr lang="en-US" altLang="tr-TR" sz="1200" b="1" dirty="0">
                  <a:solidFill>
                    <a:srgbClr val="000000"/>
                  </a:solidFill>
                  <a:cs typeface="Calibri" panose="020F0502020204030204" pitchFamily="34" charset="0"/>
                </a:rPr>
                <a:t> : </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Baku</a:t>
              </a:r>
              <a:endParaRPr lang="tr-TR" altLang="tr-TR" sz="1200" dirty="0">
                <a:solidFill>
                  <a:srgbClr val="000000"/>
                </a:solidFill>
                <a:cs typeface="Calibri" panose="020F0502020204030204" pitchFamily="34" charset="0"/>
              </a:endParaRP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Novorossiysk</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Baku-</a:t>
              </a:r>
              <a:r>
                <a:rPr lang="en-US" altLang="tr-TR" sz="1200" dirty="0" err="1">
                  <a:solidFill>
                    <a:srgbClr val="000000"/>
                  </a:solidFill>
                  <a:cs typeface="Calibri" panose="020F0502020204030204" pitchFamily="34" charset="0"/>
                </a:rPr>
                <a:t>Supsa</a:t>
              </a:r>
              <a:endParaRPr lang="en-US" altLang="tr-TR" sz="1200" dirty="0">
                <a:solidFill>
                  <a:srgbClr val="000000"/>
                </a:solidFill>
                <a:cs typeface="Calibri" panose="020F0502020204030204" pitchFamily="34" charset="0"/>
              </a:endParaRP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C00000"/>
                  </a:solidFill>
                  <a:cs typeface="Calibri" panose="020F0502020204030204" pitchFamily="34" charset="0"/>
                </a:rPr>
                <a:t>BTC</a:t>
              </a:r>
            </a:p>
            <a:p>
              <a:pPr lvl="1" fontAlgn="base">
                <a:spcAft>
                  <a:spcPct val="0"/>
                </a:spcAft>
                <a:buClr>
                  <a:srgbClr val="004A23"/>
                </a:buClr>
                <a:buSzPct val="125000"/>
                <a:buFont typeface="Arial" panose="020B0604020202020204" pitchFamily="34" charset="0"/>
                <a:buChar char="▪"/>
              </a:pPr>
              <a:r>
                <a:rPr lang="en-US" altLang="tr-TR" sz="1200" b="1" dirty="0">
                  <a:solidFill>
                    <a:srgbClr val="000000"/>
                  </a:solidFill>
                  <a:cs typeface="Calibri" panose="020F0502020204030204" pitchFamily="34" charset="0"/>
                </a:rPr>
                <a:t>Gas:</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Baku-</a:t>
              </a:r>
              <a:r>
                <a:rPr lang="en-US" altLang="tr-TR" sz="1200" dirty="0" err="1">
                  <a:solidFill>
                    <a:srgbClr val="000000"/>
                  </a:solidFill>
                  <a:cs typeface="Calibri" panose="020F0502020204030204" pitchFamily="34" charset="0"/>
                </a:rPr>
                <a:t>Mozdok</a:t>
              </a:r>
              <a:endParaRPr lang="en-US" altLang="tr-TR" sz="1200" dirty="0">
                <a:solidFill>
                  <a:srgbClr val="000000"/>
                </a:solidFill>
                <a:cs typeface="Calibri" panose="020F0502020204030204" pitchFamily="34" charset="0"/>
              </a:endParaRPr>
            </a:p>
            <a:p>
              <a:pPr lvl="2" fontAlgn="base">
                <a:spcBef>
                  <a:spcPct val="10000"/>
                </a:spcBef>
                <a:spcAft>
                  <a:spcPct val="0"/>
                </a:spcAft>
                <a:buClr>
                  <a:srgbClr val="004A23"/>
                </a:buClr>
                <a:buSzPct val="120000"/>
                <a:buFont typeface="Arial" panose="020B0604020202020204" pitchFamily="34" charset="0"/>
                <a:buChar char="–"/>
              </a:pPr>
              <a:r>
                <a:rPr lang="en-US" altLang="tr-TR" sz="1200" dirty="0" err="1">
                  <a:solidFill>
                    <a:srgbClr val="000000"/>
                  </a:solidFill>
                  <a:cs typeface="Calibri" panose="020F0502020204030204" pitchFamily="34" charset="0"/>
                </a:rPr>
                <a:t>Sout</a:t>
              </a:r>
              <a:r>
                <a:rPr lang="tr-TR" altLang="tr-TR" sz="1200" dirty="0">
                  <a:solidFill>
                    <a:srgbClr val="000000"/>
                  </a:solidFill>
                  <a:cs typeface="Calibri" panose="020F0502020204030204" pitchFamily="34" charset="0"/>
                </a:rPr>
                <a:t>h</a:t>
              </a:r>
              <a:r>
                <a:rPr lang="en-US" altLang="tr-TR" sz="1200" dirty="0">
                  <a:solidFill>
                    <a:srgbClr val="000000"/>
                  </a:solidFill>
                  <a:cs typeface="Calibri" panose="020F0502020204030204" pitchFamily="34" charset="0"/>
                </a:rPr>
                <a:t>ern Caucasus Pipeline </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C00000"/>
                  </a:solidFill>
                  <a:cs typeface="Calibri" panose="020F0502020204030204" pitchFamily="34" charset="0"/>
                </a:rPr>
                <a:t>TANAP </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TAP </a:t>
              </a:r>
            </a:p>
          </p:txBody>
        </p:sp>
        <p:sp>
          <p:nvSpPr>
            <p:cNvPr id="129" name="TextBox 212">
              <a:extLst>
                <a:ext uri="{FF2B5EF4-FFF2-40B4-BE49-F238E27FC236}">
                  <a16:creationId xmlns:a16="http://schemas.microsoft.com/office/drawing/2014/main" id="{11784676-BC66-4225-98CF-BBB859BF7362}"/>
                </a:ext>
              </a:extLst>
            </p:cNvPr>
            <p:cNvSpPr txBox="1"/>
            <p:nvPr/>
          </p:nvSpPr>
          <p:spPr>
            <a:xfrm>
              <a:off x="5310189" y="3155950"/>
              <a:ext cx="1577975" cy="3758520"/>
            </a:xfrm>
            <a:prstGeom prst="rect">
              <a:avLst/>
            </a:prstGeom>
          </p:spPr>
          <p:txBody>
            <a:bodyPr lIns="0" tIns="0" rIns="0" bIns="0">
              <a:sp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3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20000"/>
                </a:spcBef>
                <a:spcAft>
                  <a:spcPct val="0"/>
                </a:spcAft>
                <a:buClr>
                  <a:srgbClr val="004A23"/>
                </a:buClr>
                <a:defRPr/>
              </a:pPr>
              <a:r>
                <a:rPr lang="en-US" sz="1200" b="1" dirty="0">
                  <a:solidFill>
                    <a:srgbClr val="000000"/>
                  </a:solidFill>
                  <a:latin typeface="Calibri" panose="020F0502020204030204" pitchFamily="34" charset="0"/>
                  <a:cs typeface="Calibri" panose="020F0502020204030204" pitchFamily="34" charset="0"/>
                </a:rPr>
                <a:t>R</a:t>
              </a:r>
              <a:r>
                <a:rPr lang="tr-TR" sz="1200" b="1" dirty="0" err="1">
                  <a:solidFill>
                    <a:srgbClr val="000000"/>
                  </a:solidFill>
                  <a:latin typeface="Calibri" panose="020F0502020204030204" pitchFamily="34" charset="0"/>
                  <a:cs typeface="Calibri" panose="020F0502020204030204" pitchFamily="34" charset="0"/>
                </a:rPr>
                <a:t>afineri</a:t>
              </a:r>
              <a:r>
                <a:rPr lang="en-US" sz="1200" dirty="0">
                  <a:solidFill>
                    <a:srgbClr val="000000"/>
                  </a:solidFill>
                  <a:latin typeface="Calibri" panose="020F0502020204030204" pitchFamily="34" charset="0"/>
                  <a:cs typeface="Calibri" panose="020F0502020204030204" pitchFamily="34" charset="0"/>
                </a:rPr>
                <a:t>: </a:t>
              </a:r>
            </a:p>
            <a:p>
              <a:pPr marL="365942" lvl="2" indent="-166779"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Haydar</a:t>
              </a:r>
              <a:r>
                <a:rPr lang="en-US" sz="1200" dirty="0">
                  <a:solidFill>
                    <a:srgbClr val="000000"/>
                  </a:solidFill>
                  <a:latin typeface="Calibri" panose="020F0502020204030204" pitchFamily="34" charset="0"/>
                  <a:cs typeface="Calibri" panose="020F0502020204030204" pitchFamily="34" charset="0"/>
                </a:rPr>
                <a:t> Aliyev Refinery</a:t>
              </a:r>
            </a:p>
            <a:p>
              <a:pPr marL="365942" lvl="2" indent="-166779" fontAlgn="base">
                <a:spcBef>
                  <a:spcPct val="10000"/>
                </a:spcBef>
                <a:spcAft>
                  <a:spcPct val="0"/>
                </a:spcAft>
                <a:buClr>
                  <a:srgbClr val="004A23"/>
                </a:buClr>
                <a:defRPr/>
              </a:pPr>
              <a:r>
                <a:rPr lang="en-US" sz="1200" dirty="0">
                  <a:solidFill>
                    <a:srgbClr val="C00000"/>
                  </a:solidFill>
                  <a:latin typeface="Calibri" panose="020F0502020204030204" pitchFamily="34" charset="0"/>
                  <a:cs typeface="Calibri" panose="020F0502020204030204" pitchFamily="34" charset="0"/>
                </a:rPr>
                <a:t>STAR Refinery</a:t>
              </a:r>
            </a:p>
            <a:p>
              <a:pPr lvl="1" fontAlgn="base">
                <a:spcBef>
                  <a:spcPct val="20000"/>
                </a:spcBef>
                <a:spcAft>
                  <a:spcPct val="0"/>
                </a:spcAft>
                <a:buClr>
                  <a:srgbClr val="004A23"/>
                </a:buClr>
                <a:defRPr/>
              </a:pPr>
              <a:r>
                <a:rPr lang="en-US" sz="1200" b="1" dirty="0">
                  <a:solidFill>
                    <a:srgbClr val="000000"/>
                  </a:solidFill>
                  <a:latin typeface="Calibri" panose="020F0502020204030204" pitchFamily="34" charset="0"/>
                  <a:cs typeface="Calibri" panose="020F0502020204030204" pitchFamily="34" charset="0"/>
                </a:rPr>
                <a:t>Petro</a:t>
              </a:r>
              <a:r>
                <a:rPr lang="tr-TR" sz="1200" b="1" dirty="0">
                  <a:solidFill>
                    <a:srgbClr val="000000"/>
                  </a:solidFill>
                  <a:latin typeface="Calibri" panose="020F0502020204030204" pitchFamily="34" charset="0"/>
                  <a:cs typeface="Calibri" panose="020F0502020204030204" pitchFamily="34" charset="0"/>
                </a:rPr>
                <a:t>Kimya</a:t>
              </a:r>
              <a:r>
                <a:rPr lang="en-US" sz="1200" dirty="0">
                  <a:solidFill>
                    <a:srgbClr val="000000"/>
                  </a:solidFill>
                  <a:latin typeface="Calibri" panose="020F0502020204030204" pitchFamily="34" charset="0"/>
                  <a:cs typeface="Calibri" panose="020F0502020204030204" pitchFamily="34" charset="0"/>
                </a:rPr>
                <a:t>: </a:t>
              </a:r>
            </a:p>
            <a:p>
              <a:pPr marL="365942" lvl="2" indent="-166779"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Azerkimya</a:t>
              </a:r>
              <a:endParaRPr lang="en-US" sz="1200" dirty="0">
                <a:solidFill>
                  <a:srgbClr val="000000"/>
                </a:solidFill>
                <a:latin typeface="Calibri" panose="020F0502020204030204" pitchFamily="34" charset="0"/>
                <a:cs typeface="Calibri" panose="020F0502020204030204" pitchFamily="34" charset="0"/>
              </a:endParaRPr>
            </a:p>
            <a:p>
              <a:pPr marL="365942" lvl="2" indent="-166779"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SOCAR Polymer</a:t>
              </a:r>
            </a:p>
            <a:p>
              <a:pPr marL="365942" lvl="2" indent="-166779"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SOCAR GPC</a:t>
              </a:r>
            </a:p>
            <a:p>
              <a:pPr marL="365942" lvl="2" indent="-166779" fontAlgn="base">
                <a:spcBef>
                  <a:spcPct val="10000"/>
                </a:spcBef>
                <a:spcAft>
                  <a:spcPct val="0"/>
                </a:spcAft>
                <a:buClr>
                  <a:srgbClr val="004A23"/>
                </a:buClr>
                <a:defRPr/>
              </a:pPr>
              <a:r>
                <a:rPr lang="en-US" sz="1200" dirty="0">
                  <a:solidFill>
                    <a:srgbClr val="C00000"/>
                  </a:solidFill>
                  <a:latin typeface="Calibri" panose="020F0502020204030204" pitchFamily="34" charset="0"/>
                  <a:cs typeface="Calibri" panose="020F0502020204030204" pitchFamily="34" charset="0"/>
                </a:rPr>
                <a:t>Petkim</a:t>
              </a:r>
            </a:p>
            <a:p>
              <a:pPr marL="97153" lvl="1" indent="-166779" fontAlgn="base">
                <a:spcBef>
                  <a:spcPct val="20000"/>
                </a:spcBef>
                <a:spcAft>
                  <a:spcPct val="0"/>
                </a:spcAft>
                <a:buClr>
                  <a:srgbClr val="004A23"/>
                </a:buClr>
                <a:defRPr/>
              </a:pPr>
              <a:r>
                <a:rPr lang="en-US" sz="1200" b="1" dirty="0">
                  <a:solidFill>
                    <a:srgbClr val="000000"/>
                  </a:solidFill>
                  <a:latin typeface="Calibri" panose="020F0502020204030204" pitchFamily="34" charset="0"/>
                  <a:cs typeface="Calibri" panose="020F0502020204030204" pitchFamily="34" charset="0"/>
                </a:rPr>
                <a:t>Ga</a:t>
              </a:r>
              <a:r>
                <a:rPr lang="tr-TR" sz="1200" b="1" dirty="0">
                  <a:solidFill>
                    <a:srgbClr val="000000"/>
                  </a:solidFill>
                  <a:latin typeface="Calibri" panose="020F0502020204030204" pitchFamily="34" charset="0"/>
                  <a:cs typeface="Calibri" panose="020F0502020204030204" pitchFamily="34" charset="0"/>
                </a:rPr>
                <a:t>z</a:t>
              </a:r>
              <a:endParaRPr lang="en-US" sz="1200" b="1" dirty="0">
                <a:solidFill>
                  <a:srgbClr val="000000"/>
                </a:solidFill>
                <a:latin typeface="Calibri" panose="020F0502020204030204" pitchFamily="34" charset="0"/>
                <a:cs typeface="Calibri" panose="020F0502020204030204" pitchFamily="34" charset="0"/>
              </a:endParaRPr>
            </a:p>
            <a:p>
              <a:pPr marL="360678" lvl="2" indent="-166779" fontAlgn="base">
                <a:spcBef>
                  <a:spcPct val="10000"/>
                </a:spcBef>
                <a:spcAft>
                  <a:spcPct val="0"/>
                </a:spcAft>
                <a:buClr>
                  <a:srgbClr val="004A23"/>
                </a:buClr>
                <a:defRPr/>
              </a:pPr>
              <a:r>
                <a:rPr lang="en-US" sz="1200" dirty="0">
                  <a:solidFill>
                    <a:srgbClr val="C00000"/>
                  </a:solidFill>
                  <a:latin typeface="Calibri" panose="020F0502020204030204" pitchFamily="34" charset="0"/>
                  <a:cs typeface="Calibri" panose="020F0502020204030204" pitchFamily="34" charset="0"/>
                </a:rPr>
                <a:t>SOCAR Gas</a:t>
              </a:r>
            </a:p>
            <a:p>
              <a:pPr marL="360678" lvl="2" indent="-166779"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Azerigaz</a:t>
              </a:r>
              <a:endParaRPr lang="en-US" sz="1200" dirty="0">
                <a:solidFill>
                  <a:srgbClr val="000000"/>
                </a:solidFill>
                <a:latin typeface="Calibri" panose="020F0502020204030204" pitchFamily="34" charset="0"/>
                <a:cs typeface="Calibri" panose="020F0502020204030204" pitchFamily="34" charset="0"/>
              </a:endParaRPr>
            </a:p>
          </p:txBody>
        </p:sp>
        <p:sp>
          <p:nvSpPr>
            <p:cNvPr id="130" name="TextBox 213">
              <a:extLst>
                <a:ext uri="{FF2B5EF4-FFF2-40B4-BE49-F238E27FC236}">
                  <a16:creationId xmlns:a16="http://schemas.microsoft.com/office/drawing/2014/main" id="{48B145B6-5B7E-4DB9-B711-861A33358572}"/>
                </a:ext>
              </a:extLst>
            </p:cNvPr>
            <p:cNvSpPr txBox="1"/>
            <p:nvPr/>
          </p:nvSpPr>
          <p:spPr>
            <a:xfrm>
              <a:off x="7115175" y="3155950"/>
              <a:ext cx="1637882" cy="4664932"/>
            </a:xfrm>
            <a:prstGeom prst="rect">
              <a:avLst/>
            </a:prstGeom>
          </p:spPr>
          <p:txBody>
            <a:bodyPr wrap="square" lIns="0" tIns="0" rIns="0" bIns="0">
              <a:sp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3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20000"/>
                </a:spcBef>
                <a:spcAft>
                  <a:spcPct val="0"/>
                </a:spcAft>
                <a:buClr>
                  <a:srgbClr val="004A23"/>
                </a:buClr>
                <a:defRPr/>
              </a:pPr>
              <a:r>
                <a:rPr lang="en-US" sz="1200" b="1" dirty="0">
                  <a:solidFill>
                    <a:srgbClr val="000000"/>
                  </a:solidFill>
                  <a:latin typeface="Calibri" panose="020F0502020204030204" pitchFamily="34" charset="0"/>
                  <a:cs typeface="Calibri" panose="020F0502020204030204" pitchFamily="34" charset="0"/>
                </a:rPr>
                <a:t>SOCAR Trading:</a:t>
              </a:r>
            </a:p>
            <a:p>
              <a:pPr marL="370799" lvl="2" indent="-171637" fontAlgn="base">
                <a:spcBef>
                  <a:spcPct val="10000"/>
                </a:spcBef>
                <a:spcAft>
                  <a:spcPct val="0"/>
                </a:spcAft>
                <a:buClr>
                  <a:srgbClr val="004A23"/>
                </a:buClr>
                <a:defRPr/>
              </a:pPr>
              <a:r>
                <a:rPr lang="en-US" sz="1200" dirty="0">
                  <a:solidFill>
                    <a:srgbClr val="C00000"/>
                  </a:solidFill>
                  <a:latin typeface="Calibri" panose="020F0502020204030204" pitchFamily="34" charset="0"/>
                  <a:cs typeface="Calibri" panose="020F0502020204030204" pitchFamily="34" charset="0"/>
                </a:rPr>
                <a:t>Turkey</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Switzerland</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UK</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Singapore</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UAE</a:t>
              </a:r>
            </a:p>
            <a:p>
              <a:pPr marL="370799" lvl="2" indent="-171637"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Canada</a:t>
              </a:r>
            </a:p>
            <a:p>
              <a:pPr lvl="1" fontAlgn="base">
                <a:spcBef>
                  <a:spcPct val="20000"/>
                </a:spcBef>
                <a:spcAft>
                  <a:spcPct val="0"/>
                </a:spcAft>
                <a:buClr>
                  <a:srgbClr val="004A23"/>
                </a:buClr>
                <a:defRPr/>
              </a:pPr>
              <a:r>
                <a:rPr lang="tr-TR" sz="1200" b="1" dirty="0">
                  <a:solidFill>
                    <a:srgbClr val="000000"/>
                  </a:solidFill>
                  <a:latin typeface="Calibri" panose="020F0502020204030204" pitchFamily="34" charset="0"/>
                  <a:cs typeface="Calibri" panose="020F0502020204030204" pitchFamily="34" charset="0"/>
                </a:rPr>
                <a:t>Çeşitli Terminaller ve Lojistik </a:t>
              </a:r>
              <a:r>
                <a:rPr lang="en-US" sz="1200" b="1" dirty="0">
                  <a:solidFill>
                    <a:srgbClr val="000000"/>
                  </a:solidFill>
                  <a:latin typeface="Calibri" panose="020F0502020204030204" pitchFamily="34" charset="0"/>
                  <a:cs typeface="Calibri" panose="020F0502020204030204" pitchFamily="34" charset="0"/>
                </a:rPr>
                <a:t>,</a:t>
              </a:r>
            </a:p>
            <a:p>
              <a:pPr lvl="2"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Kulevi</a:t>
              </a:r>
              <a:endParaRPr lang="en-US" sz="1200" dirty="0">
                <a:solidFill>
                  <a:srgbClr val="000000"/>
                </a:solidFill>
                <a:latin typeface="Calibri" panose="020F0502020204030204" pitchFamily="34" charset="0"/>
                <a:cs typeface="Calibri" panose="020F0502020204030204" pitchFamily="34" charset="0"/>
              </a:endParaRPr>
            </a:p>
            <a:p>
              <a:pPr lvl="2" fontAlgn="base">
                <a:spcBef>
                  <a:spcPct val="10000"/>
                </a:spcBef>
                <a:spcAft>
                  <a:spcPct val="0"/>
                </a:spcAft>
                <a:buClr>
                  <a:srgbClr val="004A23"/>
                </a:buClr>
                <a:defRPr/>
              </a:pPr>
              <a:r>
                <a:rPr lang="en-US" sz="1200" dirty="0">
                  <a:solidFill>
                    <a:srgbClr val="000000"/>
                  </a:solidFill>
                  <a:latin typeface="Calibri" panose="020F0502020204030204" pitchFamily="34" charset="0"/>
                  <a:cs typeface="Calibri" panose="020F0502020204030204" pitchFamily="34" charset="0"/>
                </a:rPr>
                <a:t>Fujairah</a:t>
              </a:r>
            </a:p>
            <a:p>
              <a:pPr lvl="2" fontAlgn="base">
                <a:spcBef>
                  <a:spcPct val="10000"/>
                </a:spcBef>
                <a:spcAft>
                  <a:spcPct val="0"/>
                </a:spcAft>
                <a:buClr>
                  <a:srgbClr val="004A23"/>
                </a:buClr>
                <a:defRPr/>
              </a:pPr>
              <a:r>
                <a:rPr lang="en-US" sz="1200" dirty="0" err="1">
                  <a:solidFill>
                    <a:srgbClr val="000000"/>
                  </a:solidFill>
                  <a:latin typeface="Calibri" panose="020F0502020204030204" pitchFamily="34" charset="0"/>
                  <a:cs typeface="Calibri" panose="020F0502020204030204" pitchFamily="34" charset="0"/>
                </a:rPr>
                <a:t>Ust-Luuga</a:t>
              </a:r>
              <a:endParaRPr lang="en-US" sz="1200" dirty="0">
                <a:solidFill>
                  <a:srgbClr val="000000"/>
                </a:solidFill>
                <a:latin typeface="Calibri" panose="020F0502020204030204" pitchFamily="34" charset="0"/>
                <a:cs typeface="Calibri" panose="020F0502020204030204" pitchFamily="34" charset="0"/>
              </a:endParaRPr>
            </a:p>
            <a:p>
              <a:pPr lvl="2" fontAlgn="base">
                <a:spcBef>
                  <a:spcPct val="10000"/>
                </a:spcBef>
                <a:spcAft>
                  <a:spcPct val="0"/>
                </a:spcAft>
                <a:buClr>
                  <a:srgbClr val="004A23"/>
                </a:buClr>
                <a:defRPr/>
              </a:pPr>
              <a:r>
                <a:rPr lang="en-US" sz="1200" dirty="0" err="1">
                  <a:solidFill>
                    <a:srgbClr val="C00000"/>
                  </a:solidFill>
                  <a:latin typeface="Calibri" panose="020F0502020204030204" pitchFamily="34" charset="0"/>
                  <a:cs typeface="Calibri" panose="020F0502020204030204" pitchFamily="34" charset="0"/>
                </a:rPr>
                <a:t>Petlim</a:t>
              </a:r>
              <a:endParaRPr lang="en-US" sz="1200" dirty="0">
                <a:solidFill>
                  <a:srgbClr val="C00000"/>
                </a:solidFill>
                <a:latin typeface="Calibri" panose="020F0502020204030204" pitchFamily="34" charset="0"/>
                <a:cs typeface="Calibri" panose="020F0502020204030204" pitchFamily="34" charset="0"/>
              </a:endParaRPr>
            </a:p>
            <a:p>
              <a:pPr lvl="2" fontAlgn="base">
                <a:spcBef>
                  <a:spcPct val="10000"/>
                </a:spcBef>
                <a:spcAft>
                  <a:spcPct val="0"/>
                </a:spcAft>
                <a:buClr>
                  <a:srgbClr val="004A23"/>
                </a:buClr>
                <a:defRPr/>
              </a:pPr>
              <a:r>
                <a:rPr lang="en-US" sz="1200" dirty="0">
                  <a:solidFill>
                    <a:srgbClr val="C00000"/>
                  </a:solidFill>
                  <a:latin typeface="Calibri" panose="020F0502020204030204" pitchFamily="34" charset="0"/>
                  <a:cs typeface="Calibri" panose="020F0502020204030204" pitchFamily="34" charset="0"/>
                </a:rPr>
                <a:t>STAD</a:t>
              </a:r>
            </a:p>
            <a:p>
              <a:pPr lvl="2" fontAlgn="base">
                <a:spcBef>
                  <a:spcPct val="0"/>
                </a:spcBef>
                <a:spcAft>
                  <a:spcPct val="0"/>
                </a:spcAft>
                <a:buClr>
                  <a:srgbClr val="004A23"/>
                </a:buClr>
                <a:defRPr/>
              </a:pPr>
              <a:endParaRPr lang="en-US" sz="1300" dirty="0">
                <a:solidFill>
                  <a:srgbClr val="000000"/>
                </a:solidFill>
                <a:latin typeface="Calibri" panose="020F0502020204030204" pitchFamily="34" charset="0"/>
                <a:cs typeface="Calibri" panose="020F0502020204030204" pitchFamily="34" charset="0"/>
              </a:endParaRPr>
            </a:p>
          </p:txBody>
        </p:sp>
        <p:sp>
          <p:nvSpPr>
            <p:cNvPr id="131" name="TextBox 142">
              <a:extLst>
                <a:ext uri="{FF2B5EF4-FFF2-40B4-BE49-F238E27FC236}">
                  <a16:creationId xmlns:a16="http://schemas.microsoft.com/office/drawing/2014/main" id="{66388C3F-34C1-4A84-A77A-9C34C8A25AB5}"/>
                </a:ext>
              </a:extLst>
            </p:cNvPr>
            <p:cNvSpPr txBox="1">
              <a:spLocks noChangeArrowheads="1"/>
            </p:cNvSpPr>
            <p:nvPr/>
          </p:nvSpPr>
          <p:spPr bwMode="auto">
            <a:xfrm>
              <a:off x="8736846" y="3132217"/>
              <a:ext cx="1762543" cy="3756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25438" indent="-325438" defTabSz="895350">
                <a:spcBef>
                  <a:spcPct val="20000"/>
                </a:spcBef>
                <a:buFont typeface="Arial" panose="020B0604020202020204" pitchFamily="34" charset="0"/>
                <a:buChar char="•"/>
                <a:defRPr sz="3000">
                  <a:solidFill>
                    <a:schemeClr val="tx1"/>
                  </a:solidFill>
                  <a:latin typeface="Calibri" panose="020F0502020204030204" pitchFamily="34" charset="0"/>
                </a:defRPr>
              </a:lvl1pPr>
              <a:lvl2pPr marL="193675" indent="-192088" defTabSz="895350">
                <a:spcBef>
                  <a:spcPct val="20000"/>
                </a:spcBef>
                <a:buFont typeface="Arial" panose="020B0604020202020204" pitchFamily="34" charset="0"/>
                <a:buChar char="–"/>
                <a:defRPr sz="2700">
                  <a:solidFill>
                    <a:schemeClr val="tx1"/>
                  </a:solidFill>
                  <a:latin typeface="Calibri" panose="020F0502020204030204" pitchFamily="34" charset="0"/>
                </a:defRPr>
              </a:lvl2pPr>
              <a:lvl3pPr marL="457200" indent="-261938" defTabSz="895350">
                <a:spcBef>
                  <a:spcPct val="20000"/>
                </a:spcBef>
                <a:buFont typeface="Arial" panose="020B0604020202020204" pitchFamily="34" charset="0"/>
                <a:buChar char="•"/>
                <a:defRPr sz="2300">
                  <a:solidFill>
                    <a:schemeClr val="tx1"/>
                  </a:solidFill>
                  <a:latin typeface="Calibri" panose="020F0502020204030204" pitchFamily="34" charset="0"/>
                </a:defRPr>
              </a:lvl3pPr>
              <a:lvl4pPr marL="614363" indent="-155575" defTabSz="895350">
                <a:spcBef>
                  <a:spcPct val="20000"/>
                </a:spcBef>
                <a:buFont typeface="Arial" panose="020B0604020202020204" pitchFamily="34" charset="0"/>
                <a:buChar char="–"/>
                <a:defRPr sz="1900">
                  <a:solidFill>
                    <a:schemeClr val="tx1"/>
                  </a:solidFill>
                  <a:latin typeface="Calibri" panose="020F0502020204030204" pitchFamily="34" charset="0"/>
                </a:defRPr>
              </a:lvl4pPr>
              <a:lvl5pPr marL="749300" indent="-130175" defTabSz="895350">
                <a:spcBef>
                  <a:spcPct val="20000"/>
                </a:spcBef>
                <a:buFont typeface="Arial" panose="020B0604020202020204" pitchFamily="34" charset="0"/>
                <a:buChar char="»"/>
                <a:defRPr sz="1900">
                  <a:solidFill>
                    <a:schemeClr val="tx1"/>
                  </a:solidFill>
                  <a:latin typeface="Calibri" panose="020F0502020204030204" pitchFamily="34" charset="0"/>
                </a:defRPr>
              </a:lvl5pPr>
              <a:lvl6pPr marL="12065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6pPr>
              <a:lvl7pPr marL="16637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7pPr>
              <a:lvl8pPr marL="21209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8pPr>
              <a:lvl9pPr marL="2578100" indent="-130175" defTabSz="895350" eaLnBrk="0" fontAlgn="base" hangingPunct="0">
                <a:spcBef>
                  <a:spcPct val="20000"/>
                </a:spcBef>
                <a:spcAft>
                  <a:spcPct val="0"/>
                </a:spcAft>
                <a:buFont typeface="Arial" panose="020B0604020202020204" pitchFamily="34" charset="0"/>
                <a:buChar char="»"/>
                <a:defRPr sz="1900">
                  <a:solidFill>
                    <a:schemeClr val="tx1"/>
                  </a:solidFill>
                  <a:latin typeface="Calibri" panose="020F0502020204030204" pitchFamily="34" charset="0"/>
                </a:defRPr>
              </a:lvl9pPr>
            </a:lstStyle>
            <a:p>
              <a:pPr lvl="2" fontAlgn="base">
                <a:spcBef>
                  <a:spcPct val="10000"/>
                </a:spcBef>
                <a:spcAft>
                  <a:spcPct val="0"/>
                </a:spcAft>
                <a:buClr>
                  <a:srgbClr val="004A23"/>
                </a:buClr>
                <a:buSzPct val="120000"/>
              </a:pPr>
              <a:r>
                <a:rPr lang="tr-TR" altLang="tr-TR" sz="1200" b="1" dirty="0">
                  <a:solidFill>
                    <a:srgbClr val="000000"/>
                  </a:solidFill>
                  <a:cs typeface="Calibri" panose="020F0502020204030204" pitchFamily="34" charset="0"/>
                </a:rPr>
                <a:t>Petrol Ürünleri Satışı</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Azerbaijan</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C00000"/>
                  </a:solidFill>
                  <a:cs typeface="Calibri" panose="020F0502020204030204" pitchFamily="34" charset="0"/>
                </a:rPr>
                <a:t>Turkey</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Georgia</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Ukraine</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err="1">
                  <a:solidFill>
                    <a:srgbClr val="000000"/>
                  </a:solidFill>
                  <a:cs typeface="Calibri" panose="020F0502020204030204" pitchFamily="34" charset="0"/>
                </a:rPr>
                <a:t>Romenia</a:t>
              </a:r>
              <a:endParaRPr lang="en-US" altLang="tr-TR" sz="1200" dirty="0">
                <a:solidFill>
                  <a:srgbClr val="000000"/>
                </a:solidFill>
                <a:cs typeface="Calibri" panose="020F0502020204030204" pitchFamily="34" charset="0"/>
              </a:endParaRP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Switzerland </a:t>
              </a:r>
            </a:p>
            <a:p>
              <a:pPr lvl="1" fontAlgn="base">
                <a:spcAft>
                  <a:spcPct val="0"/>
                </a:spcAft>
                <a:buClr>
                  <a:srgbClr val="004A23"/>
                </a:buClr>
                <a:buSzPct val="125000"/>
                <a:buFont typeface="Arial" panose="020B0604020202020204" pitchFamily="34" charset="0"/>
                <a:buChar char="▪"/>
              </a:pPr>
              <a:r>
                <a:rPr lang="en-US" altLang="tr-TR" sz="1200" b="1" dirty="0">
                  <a:solidFill>
                    <a:srgbClr val="000000"/>
                  </a:solidFill>
                  <a:cs typeface="Calibri" panose="020F0502020204030204" pitchFamily="34" charset="0"/>
                </a:rPr>
                <a:t>Ga</a:t>
              </a:r>
              <a:r>
                <a:rPr lang="tr-TR" altLang="tr-TR" sz="1200" b="1" dirty="0">
                  <a:solidFill>
                    <a:srgbClr val="000000"/>
                  </a:solidFill>
                  <a:cs typeface="Calibri" panose="020F0502020204030204" pitchFamily="34" charset="0"/>
                </a:rPr>
                <a:t>z Dağıtımı</a:t>
              </a: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Georgia</a:t>
              </a:r>
              <a:endParaRPr lang="tr-TR" altLang="tr-TR" sz="1200" dirty="0">
                <a:solidFill>
                  <a:srgbClr val="000000"/>
                </a:solidFill>
                <a:cs typeface="Calibri" panose="020F0502020204030204" pitchFamily="34" charset="0"/>
              </a:endParaRPr>
            </a:p>
            <a:p>
              <a:pPr lvl="2" fontAlgn="base">
                <a:spcBef>
                  <a:spcPct val="10000"/>
                </a:spcBef>
                <a:spcAft>
                  <a:spcPct val="0"/>
                </a:spcAft>
                <a:buClr>
                  <a:srgbClr val="004A23"/>
                </a:buClr>
                <a:buSzPct val="120000"/>
                <a:buFont typeface="Arial" panose="020B0604020202020204" pitchFamily="34" charset="0"/>
                <a:buChar char="–"/>
              </a:pPr>
              <a:r>
                <a:rPr lang="en-US" altLang="tr-TR" sz="1200" dirty="0">
                  <a:solidFill>
                    <a:srgbClr val="000000"/>
                  </a:solidFill>
                  <a:cs typeface="Calibri" panose="020F0502020204030204" pitchFamily="34" charset="0"/>
                </a:rPr>
                <a:t>Azerbaijan</a:t>
              </a:r>
            </a:p>
            <a:p>
              <a:pPr lvl="2" fontAlgn="base">
                <a:spcBef>
                  <a:spcPct val="10000"/>
                </a:spcBef>
                <a:spcAft>
                  <a:spcPct val="0"/>
                </a:spcAft>
                <a:buClr>
                  <a:srgbClr val="004A23"/>
                </a:buClr>
                <a:buSzPct val="120000"/>
                <a:buFont typeface="Arial" panose="020B0604020202020204" pitchFamily="34" charset="0"/>
                <a:buChar char="–"/>
              </a:pPr>
              <a:endParaRPr lang="en-US" altLang="tr-TR" sz="1300" dirty="0">
                <a:solidFill>
                  <a:srgbClr val="000000"/>
                </a:solidFill>
                <a:cs typeface="Calibri" panose="020F0502020204030204" pitchFamily="34" charset="0"/>
              </a:endParaRPr>
            </a:p>
          </p:txBody>
        </p:sp>
      </p:grpSp>
      <p:pic>
        <p:nvPicPr>
          <p:cNvPr id="112" name="Grafik 7">
            <a:extLst>
              <a:ext uri="{FF2B5EF4-FFF2-40B4-BE49-F238E27FC236}">
                <a16:creationId xmlns:a16="http://schemas.microsoft.com/office/drawing/2014/main" id="{912D97A5-7BA9-4EF8-A837-515E821496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1140583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3"/>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9" name="Picture 1">
            <a:extLst>
              <a:ext uri="{FF2B5EF4-FFF2-40B4-BE49-F238E27FC236}">
                <a16:creationId xmlns:a16="http://schemas.microsoft.com/office/drawing/2014/main" id="{F5468A6D-7691-420D-8329-A31BC3658F5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585072" y="767808"/>
            <a:ext cx="9021856" cy="5407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5E4FA033-71F1-425B-ABAE-A73A231EF35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ltGray">
          <a:xfrm>
            <a:off x="401161" y="1324919"/>
            <a:ext cx="1051043" cy="996077"/>
          </a:xfrm>
          <a:prstGeom prst="rect">
            <a:avLst/>
          </a:prstGeom>
        </p:spPr>
      </p:pic>
      <p:pic>
        <p:nvPicPr>
          <p:cNvPr id="11" name="Grafik 7">
            <a:extLst>
              <a:ext uri="{FF2B5EF4-FFF2-40B4-BE49-F238E27FC236}">
                <a16:creationId xmlns:a16="http://schemas.microsoft.com/office/drawing/2014/main" id="{539EF0CB-4879-4E56-A1CF-F5D85E2413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527" y="6287609"/>
            <a:ext cx="1283363" cy="303016"/>
          </a:xfrm>
          <a:prstGeom prst="rect">
            <a:avLst/>
          </a:prstGeom>
        </p:spPr>
      </p:pic>
    </p:spTree>
    <p:extLst>
      <p:ext uri="{BB962C8B-B14F-4D97-AF65-F5344CB8AC3E}">
        <p14:creationId xmlns:p14="http://schemas.microsoft.com/office/powerpoint/2010/main" val="3501672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15" name="Grafik 7">
            <a:extLst>
              <a:ext uri="{FF2B5EF4-FFF2-40B4-BE49-F238E27FC236}">
                <a16:creationId xmlns:a16="http://schemas.microsoft.com/office/drawing/2014/main" id="{143405D5-FE34-48BA-A579-63DC47571F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27" y="6287609"/>
            <a:ext cx="1283363" cy="303016"/>
          </a:xfrm>
          <a:prstGeom prst="rect">
            <a:avLst/>
          </a:prstGeom>
        </p:spPr>
      </p:pic>
      <p:sp>
        <p:nvSpPr>
          <p:cNvPr id="16" name="Başlık 14">
            <a:extLst>
              <a:ext uri="{FF2B5EF4-FFF2-40B4-BE49-F238E27FC236}">
                <a16:creationId xmlns:a16="http://schemas.microsoft.com/office/drawing/2014/main" id="{FBD49E73-5731-4CFA-A50C-A6DC6E0A74E3}"/>
              </a:ext>
            </a:extLst>
          </p:cNvPr>
          <p:cNvSpPr txBox="1">
            <a:spLocks/>
          </p:cNvSpPr>
          <p:nvPr/>
        </p:nvSpPr>
        <p:spPr>
          <a:xfrm>
            <a:off x="2128919" y="584286"/>
            <a:ext cx="9860169" cy="6516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3800" dirty="0">
                <a:solidFill>
                  <a:srgbClr val="004A85"/>
                </a:solidFill>
                <a:latin typeface="+mn-lt"/>
              </a:rPr>
              <a:t>Varlık Yönetimi</a:t>
            </a:r>
          </a:p>
        </p:txBody>
      </p:sp>
      <p:sp>
        <p:nvSpPr>
          <p:cNvPr id="17" name="TextBox 4">
            <a:extLst>
              <a:ext uri="{FF2B5EF4-FFF2-40B4-BE49-F238E27FC236}">
                <a16:creationId xmlns:a16="http://schemas.microsoft.com/office/drawing/2014/main" id="{11212039-205F-42A9-819D-0E9B29886C7F}"/>
              </a:ext>
            </a:extLst>
          </p:cNvPr>
          <p:cNvSpPr txBox="1"/>
          <p:nvPr/>
        </p:nvSpPr>
        <p:spPr>
          <a:xfrm>
            <a:off x="8576617" y="1719818"/>
            <a:ext cx="2239855" cy="396262"/>
          </a:xfrm>
          <a:prstGeom prst="rect">
            <a:avLst/>
          </a:prstGeom>
          <a:noFill/>
        </p:spPr>
        <p:txBody>
          <a:bodyPr wrap="square" rtlCol="0">
            <a:spAutoFit/>
          </a:bodyPr>
          <a:lstStyle/>
          <a:p>
            <a:pPr algn="ctr" defTabSz="457823"/>
            <a:r>
              <a:rPr lang="tr-TR" sz="1975" b="1" dirty="0">
                <a:solidFill>
                  <a:srgbClr val="FF0000"/>
                </a:solidFill>
                <a:latin typeface="Calibri"/>
                <a:cs typeface="Arial" charset="0"/>
              </a:rPr>
              <a:t>Varlık Yönetimi</a:t>
            </a:r>
            <a:endParaRPr lang="en-US" sz="1975" b="1" dirty="0">
              <a:solidFill>
                <a:srgbClr val="FF0000"/>
              </a:solidFill>
              <a:latin typeface="Calibri"/>
              <a:cs typeface="Arial" charset="0"/>
            </a:endParaRPr>
          </a:p>
        </p:txBody>
      </p:sp>
      <p:grpSp>
        <p:nvGrpSpPr>
          <p:cNvPr id="18" name="Group 20">
            <a:extLst>
              <a:ext uri="{FF2B5EF4-FFF2-40B4-BE49-F238E27FC236}">
                <a16:creationId xmlns:a16="http://schemas.microsoft.com/office/drawing/2014/main" id="{D67CD4A1-5AAA-4F3F-A73A-13C57FE9E0D6}"/>
              </a:ext>
            </a:extLst>
          </p:cNvPr>
          <p:cNvGrpSpPr/>
          <p:nvPr/>
        </p:nvGrpSpPr>
        <p:grpSpPr>
          <a:xfrm>
            <a:off x="4139556" y="1804769"/>
            <a:ext cx="3131421" cy="4652592"/>
            <a:chOff x="-18013" y="1978113"/>
            <a:chExt cx="5291470" cy="6890314"/>
          </a:xfrm>
        </p:grpSpPr>
        <p:sp>
          <p:nvSpPr>
            <p:cNvPr id="19" name="Up Arrow 14">
              <a:extLst>
                <a:ext uri="{FF2B5EF4-FFF2-40B4-BE49-F238E27FC236}">
                  <a16:creationId xmlns:a16="http://schemas.microsoft.com/office/drawing/2014/main" id="{42C8C6CB-54E7-4D9D-AF49-AA0763B6B723}"/>
                </a:ext>
              </a:extLst>
            </p:cNvPr>
            <p:cNvSpPr/>
            <p:nvPr/>
          </p:nvSpPr>
          <p:spPr>
            <a:xfrm>
              <a:off x="575394" y="3712656"/>
              <a:ext cx="713984" cy="346475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823"/>
              <a:endParaRPr lang="en-US" sz="1835">
                <a:solidFill>
                  <a:prstClr val="white"/>
                </a:solidFill>
                <a:latin typeface="Calibri"/>
              </a:endParaRPr>
            </a:p>
          </p:txBody>
        </p:sp>
        <p:graphicFrame>
          <p:nvGraphicFramePr>
            <p:cNvPr id="20" name="Diagram 13">
              <a:extLst>
                <a:ext uri="{FF2B5EF4-FFF2-40B4-BE49-F238E27FC236}">
                  <a16:creationId xmlns:a16="http://schemas.microsoft.com/office/drawing/2014/main" id="{CFD066B5-5824-4CEB-A073-7BA865368493}"/>
                </a:ext>
              </a:extLst>
            </p:cNvPr>
            <p:cNvGraphicFramePr/>
            <p:nvPr>
              <p:extLst/>
            </p:nvPr>
          </p:nvGraphicFramePr>
          <p:xfrm>
            <a:off x="-18013" y="1978113"/>
            <a:ext cx="5291470" cy="689031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
        <p:nvSpPr>
          <p:cNvPr id="21" name="Curved Down Arrow 21">
            <a:extLst>
              <a:ext uri="{FF2B5EF4-FFF2-40B4-BE49-F238E27FC236}">
                <a16:creationId xmlns:a16="http://schemas.microsoft.com/office/drawing/2014/main" id="{E94A0F6F-5890-4777-8EA8-E7948A665513}"/>
              </a:ext>
            </a:extLst>
          </p:cNvPr>
          <p:cNvSpPr/>
          <p:nvPr/>
        </p:nvSpPr>
        <p:spPr>
          <a:xfrm>
            <a:off x="6567514" y="2629769"/>
            <a:ext cx="1134583" cy="524399"/>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823"/>
            <a:endParaRPr lang="en-US" sz="1411" dirty="0">
              <a:solidFill>
                <a:srgbClr val="1F497D">
                  <a:lumMod val="75000"/>
                </a:srgbClr>
              </a:solidFill>
              <a:latin typeface="Calibri"/>
            </a:endParaRPr>
          </a:p>
        </p:txBody>
      </p:sp>
      <p:sp>
        <p:nvSpPr>
          <p:cNvPr id="22" name="Curved Down Arrow 26">
            <a:extLst>
              <a:ext uri="{FF2B5EF4-FFF2-40B4-BE49-F238E27FC236}">
                <a16:creationId xmlns:a16="http://schemas.microsoft.com/office/drawing/2014/main" id="{38C5F092-0C2E-4200-91F2-AD6FF0CE1196}"/>
              </a:ext>
            </a:extLst>
          </p:cNvPr>
          <p:cNvSpPr/>
          <p:nvPr/>
        </p:nvSpPr>
        <p:spPr>
          <a:xfrm rot="10800000">
            <a:off x="6543379" y="5078594"/>
            <a:ext cx="1134583" cy="524399"/>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823"/>
            <a:endParaRPr lang="en-US" sz="1835">
              <a:solidFill>
                <a:prstClr val="black"/>
              </a:solidFill>
              <a:latin typeface="Calibri"/>
            </a:endParaRPr>
          </a:p>
        </p:txBody>
      </p:sp>
      <p:sp>
        <p:nvSpPr>
          <p:cNvPr id="23" name="TextBox 30">
            <a:extLst>
              <a:ext uri="{FF2B5EF4-FFF2-40B4-BE49-F238E27FC236}">
                <a16:creationId xmlns:a16="http://schemas.microsoft.com/office/drawing/2014/main" id="{DB26F8E7-BB00-4477-B7D8-9A76F265059E}"/>
              </a:ext>
            </a:extLst>
          </p:cNvPr>
          <p:cNvSpPr txBox="1"/>
          <p:nvPr/>
        </p:nvSpPr>
        <p:spPr>
          <a:xfrm>
            <a:off x="190529" y="1564192"/>
            <a:ext cx="4722723" cy="526554"/>
          </a:xfrm>
          <a:prstGeom prst="rect">
            <a:avLst/>
          </a:prstGeom>
          <a:noFill/>
        </p:spPr>
        <p:txBody>
          <a:bodyPr wrap="square" rtlCol="0">
            <a:spAutoFit/>
          </a:bodyPr>
          <a:lstStyle/>
          <a:p>
            <a:pPr defTabSz="457823"/>
            <a:r>
              <a:rPr lang="tr-TR" sz="1411" b="1" dirty="0">
                <a:solidFill>
                  <a:srgbClr val="FF0000"/>
                </a:solidFill>
                <a:effectLst>
                  <a:outerShdw blurRad="38100" dist="38100" dir="2700000" algn="tl">
                    <a:srgbClr val="000000">
                      <a:alpha val="43137"/>
                    </a:srgbClr>
                  </a:outerShdw>
                </a:effectLst>
                <a:latin typeface="Calibri"/>
                <a:cs typeface="Arial" charset="0"/>
              </a:rPr>
              <a:t>Varlıklardan Maksimum fayda elde etmek için uygulanan koordineli aktivitelerin bütünüdür.</a:t>
            </a:r>
            <a:endParaRPr lang="en-US" sz="1975" b="1" dirty="0">
              <a:solidFill>
                <a:srgbClr val="FF0000"/>
              </a:solidFill>
              <a:effectLst>
                <a:outerShdw blurRad="38100" dist="38100" dir="2700000" algn="tl">
                  <a:srgbClr val="000000">
                    <a:alpha val="43137"/>
                  </a:srgbClr>
                </a:outerShdw>
              </a:effectLst>
              <a:latin typeface="Calibri"/>
              <a:cs typeface="Arial" charset="0"/>
            </a:endParaRPr>
          </a:p>
        </p:txBody>
      </p:sp>
      <p:grpSp>
        <p:nvGrpSpPr>
          <p:cNvPr id="24" name="Grup 23">
            <a:extLst>
              <a:ext uri="{FF2B5EF4-FFF2-40B4-BE49-F238E27FC236}">
                <a16:creationId xmlns:a16="http://schemas.microsoft.com/office/drawing/2014/main" id="{A9E6CBE3-8CDB-44D7-A9C6-AAF2A8D3893C}"/>
              </a:ext>
            </a:extLst>
          </p:cNvPr>
          <p:cNvGrpSpPr/>
          <p:nvPr/>
        </p:nvGrpSpPr>
        <p:grpSpPr>
          <a:xfrm>
            <a:off x="51286" y="2900586"/>
            <a:ext cx="4313655" cy="2971813"/>
            <a:chOff x="956902" y="1076144"/>
            <a:chExt cx="9742184" cy="5543686"/>
          </a:xfrm>
        </p:grpSpPr>
        <p:sp>
          <p:nvSpPr>
            <p:cNvPr id="25" name="Line 6">
              <a:extLst>
                <a:ext uri="{FF2B5EF4-FFF2-40B4-BE49-F238E27FC236}">
                  <a16:creationId xmlns:a16="http://schemas.microsoft.com/office/drawing/2014/main" id="{A6373B62-6400-41BB-B8F8-8E9EC41E0432}"/>
                </a:ext>
              </a:extLst>
            </p:cNvPr>
            <p:cNvSpPr>
              <a:spLocks noChangeShapeType="1"/>
            </p:cNvSpPr>
            <p:nvPr/>
          </p:nvSpPr>
          <p:spPr bwMode="auto">
            <a:xfrm>
              <a:off x="3796924" y="2009774"/>
              <a:ext cx="1703386" cy="2444750"/>
            </a:xfrm>
            <a:prstGeom prst="line">
              <a:avLst/>
            </a:prstGeom>
            <a:noFill/>
            <a:ln w="57150">
              <a:solidFill>
                <a:schemeClr val="accent1"/>
              </a:solidFill>
              <a:round/>
              <a:headEnd type="triangle" w="lg" len="lg"/>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tx2"/>
                    </a:outerShdw>
                  </a:effectLst>
                </a14:hiddenEffects>
              </a:ext>
            </a:extLst>
          </p:spPr>
          <p:txBody>
            <a:bodyPr wrap="square" lIns="0" rIns="0" anchor="ctr">
              <a:spAutoFit/>
            </a:bodyPr>
            <a:lstStyle>
              <a:defPPr>
                <a:defRPr lang="nl-NL"/>
              </a:defPPr>
              <a:lvl1pPr algn="l" rtl="0" eaLnBrk="0" fontAlgn="base" hangingPunct="0">
                <a:spcBef>
                  <a:spcPct val="0"/>
                </a:spcBef>
                <a:spcAft>
                  <a:spcPct val="0"/>
                </a:spcAft>
                <a:defRPr kern="1200">
                  <a:solidFill>
                    <a:schemeClr val="tx1"/>
                  </a:solidFill>
                  <a:latin typeface="Trebuchet MS" pitchFamily="34" charset="0"/>
                  <a:ea typeface="+mn-ea"/>
                  <a:cs typeface="Arial" charset="0"/>
                </a:defRPr>
              </a:lvl1pPr>
              <a:lvl2pPr marL="457200" algn="l" rtl="0" eaLnBrk="0" fontAlgn="base" hangingPunct="0">
                <a:spcBef>
                  <a:spcPct val="0"/>
                </a:spcBef>
                <a:spcAft>
                  <a:spcPct val="0"/>
                </a:spcAft>
                <a:defRPr kern="1200">
                  <a:solidFill>
                    <a:schemeClr val="tx1"/>
                  </a:solidFill>
                  <a:latin typeface="Trebuchet MS" pitchFamily="34" charset="0"/>
                  <a:ea typeface="+mn-ea"/>
                  <a:cs typeface="Arial" charset="0"/>
                </a:defRPr>
              </a:lvl2pPr>
              <a:lvl3pPr marL="914400" algn="l" rtl="0" eaLnBrk="0" fontAlgn="base" hangingPunct="0">
                <a:spcBef>
                  <a:spcPct val="0"/>
                </a:spcBef>
                <a:spcAft>
                  <a:spcPct val="0"/>
                </a:spcAft>
                <a:defRPr kern="1200">
                  <a:solidFill>
                    <a:schemeClr val="tx1"/>
                  </a:solidFill>
                  <a:latin typeface="Trebuchet MS" pitchFamily="34" charset="0"/>
                  <a:ea typeface="+mn-ea"/>
                  <a:cs typeface="Arial" charset="0"/>
                </a:defRPr>
              </a:lvl3pPr>
              <a:lvl4pPr marL="1371600" algn="l" rtl="0" eaLnBrk="0" fontAlgn="base" hangingPunct="0">
                <a:spcBef>
                  <a:spcPct val="0"/>
                </a:spcBef>
                <a:spcAft>
                  <a:spcPct val="0"/>
                </a:spcAft>
                <a:defRPr kern="1200">
                  <a:solidFill>
                    <a:schemeClr val="tx1"/>
                  </a:solidFill>
                  <a:latin typeface="Trebuchet MS" pitchFamily="34" charset="0"/>
                  <a:ea typeface="+mn-ea"/>
                  <a:cs typeface="Arial" charset="0"/>
                </a:defRPr>
              </a:lvl4pPr>
              <a:lvl5pPr marL="1828800" algn="l" rtl="0" eaLnBrk="0" fontAlgn="base" hangingPunct="0">
                <a:spcBef>
                  <a:spcPct val="0"/>
                </a:spcBef>
                <a:spcAft>
                  <a:spcPct val="0"/>
                </a:spcAft>
                <a:defRPr kern="1200">
                  <a:solidFill>
                    <a:schemeClr val="tx1"/>
                  </a:solidFill>
                  <a:latin typeface="Trebuchet MS" pitchFamily="34" charset="0"/>
                  <a:ea typeface="+mn-ea"/>
                  <a:cs typeface="Arial" charset="0"/>
                </a:defRPr>
              </a:lvl5pPr>
              <a:lvl6pPr marL="2286000" algn="l" defTabSz="914400" rtl="0" eaLnBrk="1" latinLnBrk="0" hangingPunct="1">
                <a:defRPr kern="1200">
                  <a:solidFill>
                    <a:schemeClr val="tx1"/>
                  </a:solidFill>
                  <a:latin typeface="Trebuchet MS" pitchFamily="34" charset="0"/>
                  <a:ea typeface="+mn-ea"/>
                  <a:cs typeface="Arial" charset="0"/>
                </a:defRPr>
              </a:lvl6pPr>
              <a:lvl7pPr marL="2743200" algn="l" defTabSz="914400" rtl="0" eaLnBrk="1" latinLnBrk="0" hangingPunct="1">
                <a:defRPr kern="1200">
                  <a:solidFill>
                    <a:schemeClr val="tx1"/>
                  </a:solidFill>
                  <a:latin typeface="Trebuchet MS" pitchFamily="34" charset="0"/>
                  <a:ea typeface="+mn-ea"/>
                  <a:cs typeface="Arial" charset="0"/>
                </a:defRPr>
              </a:lvl7pPr>
              <a:lvl8pPr marL="3200400" algn="l" defTabSz="914400" rtl="0" eaLnBrk="1" latinLnBrk="0" hangingPunct="1">
                <a:defRPr kern="1200">
                  <a:solidFill>
                    <a:schemeClr val="tx1"/>
                  </a:solidFill>
                  <a:latin typeface="Trebuchet MS" pitchFamily="34" charset="0"/>
                  <a:ea typeface="+mn-ea"/>
                  <a:cs typeface="Arial" charset="0"/>
                </a:defRPr>
              </a:lvl8pPr>
              <a:lvl9pPr marL="3657600" algn="l" defTabSz="914400" rtl="0" eaLnBrk="1" latinLnBrk="0" hangingPunct="1">
                <a:defRPr kern="1200">
                  <a:solidFill>
                    <a:schemeClr val="tx1"/>
                  </a:solidFill>
                  <a:latin typeface="Trebuchet MS" pitchFamily="34" charset="0"/>
                  <a:ea typeface="+mn-ea"/>
                  <a:cs typeface="Arial" charset="0"/>
                </a:defRPr>
              </a:lvl9pPr>
            </a:lstStyle>
            <a:p>
              <a:pPr defTabSz="914377">
                <a:defRPr/>
              </a:pPr>
              <a:endParaRPr lang="en-US" sz="800">
                <a:solidFill>
                  <a:prstClr val="black"/>
                </a:solidFill>
                <a:latin typeface="Calibri Light" panose="020F0302020204030204"/>
              </a:endParaRPr>
            </a:p>
          </p:txBody>
        </p:sp>
        <p:sp>
          <p:nvSpPr>
            <p:cNvPr id="26" name="Line 8">
              <a:extLst>
                <a:ext uri="{FF2B5EF4-FFF2-40B4-BE49-F238E27FC236}">
                  <a16:creationId xmlns:a16="http://schemas.microsoft.com/office/drawing/2014/main" id="{84820C11-2BE3-4DA9-B38D-A25F3FBF81DE}"/>
                </a:ext>
              </a:extLst>
            </p:cNvPr>
            <p:cNvSpPr>
              <a:spLocks noChangeShapeType="1"/>
            </p:cNvSpPr>
            <p:nvPr/>
          </p:nvSpPr>
          <p:spPr bwMode="auto">
            <a:xfrm>
              <a:off x="3909637" y="1808163"/>
              <a:ext cx="3600450" cy="0"/>
            </a:xfrm>
            <a:prstGeom prst="line">
              <a:avLst/>
            </a:prstGeom>
            <a:noFill/>
            <a:ln w="57150">
              <a:solidFill>
                <a:schemeClr val="accent1"/>
              </a:solidFill>
              <a:round/>
              <a:headEnd type="triangle" w="lg" len="lg"/>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tx2"/>
                    </a:outerShdw>
                  </a:effectLst>
                </a14:hiddenEffects>
              </a:ext>
            </a:extLst>
          </p:spPr>
          <p:txBody>
            <a:bodyPr wrap="square" lIns="0" rIns="0" anchor="ctr">
              <a:spAutoFit/>
            </a:bodyPr>
            <a:lstStyle>
              <a:defPPr>
                <a:defRPr lang="nl-NL"/>
              </a:defPPr>
              <a:lvl1pPr algn="l" rtl="0" eaLnBrk="0" fontAlgn="base" hangingPunct="0">
                <a:spcBef>
                  <a:spcPct val="0"/>
                </a:spcBef>
                <a:spcAft>
                  <a:spcPct val="0"/>
                </a:spcAft>
                <a:defRPr kern="1200">
                  <a:solidFill>
                    <a:schemeClr val="tx1"/>
                  </a:solidFill>
                  <a:latin typeface="Trebuchet MS" pitchFamily="34" charset="0"/>
                  <a:ea typeface="+mn-ea"/>
                  <a:cs typeface="Arial" charset="0"/>
                </a:defRPr>
              </a:lvl1pPr>
              <a:lvl2pPr marL="457200" algn="l" rtl="0" eaLnBrk="0" fontAlgn="base" hangingPunct="0">
                <a:spcBef>
                  <a:spcPct val="0"/>
                </a:spcBef>
                <a:spcAft>
                  <a:spcPct val="0"/>
                </a:spcAft>
                <a:defRPr kern="1200">
                  <a:solidFill>
                    <a:schemeClr val="tx1"/>
                  </a:solidFill>
                  <a:latin typeface="Trebuchet MS" pitchFamily="34" charset="0"/>
                  <a:ea typeface="+mn-ea"/>
                  <a:cs typeface="Arial" charset="0"/>
                </a:defRPr>
              </a:lvl2pPr>
              <a:lvl3pPr marL="914400" algn="l" rtl="0" eaLnBrk="0" fontAlgn="base" hangingPunct="0">
                <a:spcBef>
                  <a:spcPct val="0"/>
                </a:spcBef>
                <a:spcAft>
                  <a:spcPct val="0"/>
                </a:spcAft>
                <a:defRPr kern="1200">
                  <a:solidFill>
                    <a:schemeClr val="tx1"/>
                  </a:solidFill>
                  <a:latin typeface="Trebuchet MS" pitchFamily="34" charset="0"/>
                  <a:ea typeface="+mn-ea"/>
                  <a:cs typeface="Arial" charset="0"/>
                </a:defRPr>
              </a:lvl3pPr>
              <a:lvl4pPr marL="1371600" algn="l" rtl="0" eaLnBrk="0" fontAlgn="base" hangingPunct="0">
                <a:spcBef>
                  <a:spcPct val="0"/>
                </a:spcBef>
                <a:spcAft>
                  <a:spcPct val="0"/>
                </a:spcAft>
                <a:defRPr kern="1200">
                  <a:solidFill>
                    <a:schemeClr val="tx1"/>
                  </a:solidFill>
                  <a:latin typeface="Trebuchet MS" pitchFamily="34" charset="0"/>
                  <a:ea typeface="+mn-ea"/>
                  <a:cs typeface="Arial" charset="0"/>
                </a:defRPr>
              </a:lvl4pPr>
              <a:lvl5pPr marL="1828800" algn="l" rtl="0" eaLnBrk="0" fontAlgn="base" hangingPunct="0">
                <a:spcBef>
                  <a:spcPct val="0"/>
                </a:spcBef>
                <a:spcAft>
                  <a:spcPct val="0"/>
                </a:spcAft>
                <a:defRPr kern="1200">
                  <a:solidFill>
                    <a:schemeClr val="tx1"/>
                  </a:solidFill>
                  <a:latin typeface="Trebuchet MS" pitchFamily="34" charset="0"/>
                  <a:ea typeface="+mn-ea"/>
                  <a:cs typeface="Arial" charset="0"/>
                </a:defRPr>
              </a:lvl5pPr>
              <a:lvl6pPr marL="2286000" algn="l" defTabSz="914400" rtl="0" eaLnBrk="1" latinLnBrk="0" hangingPunct="1">
                <a:defRPr kern="1200">
                  <a:solidFill>
                    <a:schemeClr val="tx1"/>
                  </a:solidFill>
                  <a:latin typeface="Trebuchet MS" pitchFamily="34" charset="0"/>
                  <a:ea typeface="+mn-ea"/>
                  <a:cs typeface="Arial" charset="0"/>
                </a:defRPr>
              </a:lvl6pPr>
              <a:lvl7pPr marL="2743200" algn="l" defTabSz="914400" rtl="0" eaLnBrk="1" latinLnBrk="0" hangingPunct="1">
                <a:defRPr kern="1200">
                  <a:solidFill>
                    <a:schemeClr val="tx1"/>
                  </a:solidFill>
                  <a:latin typeface="Trebuchet MS" pitchFamily="34" charset="0"/>
                  <a:ea typeface="+mn-ea"/>
                  <a:cs typeface="Arial" charset="0"/>
                </a:defRPr>
              </a:lvl7pPr>
              <a:lvl8pPr marL="3200400" algn="l" defTabSz="914400" rtl="0" eaLnBrk="1" latinLnBrk="0" hangingPunct="1">
                <a:defRPr kern="1200">
                  <a:solidFill>
                    <a:schemeClr val="tx1"/>
                  </a:solidFill>
                  <a:latin typeface="Trebuchet MS" pitchFamily="34" charset="0"/>
                  <a:ea typeface="+mn-ea"/>
                  <a:cs typeface="Arial" charset="0"/>
                </a:defRPr>
              </a:lvl8pPr>
              <a:lvl9pPr marL="3657600" algn="l" defTabSz="914400" rtl="0" eaLnBrk="1" latinLnBrk="0" hangingPunct="1">
                <a:defRPr kern="1200">
                  <a:solidFill>
                    <a:schemeClr val="tx1"/>
                  </a:solidFill>
                  <a:latin typeface="Trebuchet MS" pitchFamily="34" charset="0"/>
                  <a:ea typeface="+mn-ea"/>
                  <a:cs typeface="Arial" charset="0"/>
                </a:defRPr>
              </a:lvl9pPr>
            </a:lstStyle>
            <a:p>
              <a:pPr defTabSz="914377">
                <a:defRPr/>
              </a:pPr>
              <a:endParaRPr lang="en-US" sz="800">
                <a:solidFill>
                  <a:prstClr val="black"/>
                </a:solidFill>
                <a:latin typeface="Calibri Light" panose="020F0302020204030204"/>
              </a:endParaRPr>
            </a:p>
          </p:txBody>
        </p:sp>
        <p:sp>
          <p:nvSpPr>
            <p:cNvPr id="27" name="Text Box 14">
              <a:extLst>
                <a:ext uri="{FF2B5EF4-FFF2-40B4-BE49-F238E27FC236}">
                  <a16:creationId xmlns:a16="http://schemas.microsoft.com/office/drawing/2014/main" id="{C94F81D4-B297-4C1A-BEB9-8F7ACD09FC10}"/>
                </a:ext>
              </a:extLst>
            </p:cNvPr>
            <p:cNvSpPr txBox="1">
              <a:spLocks noChangeArrowheads="1"/>
            </p:cNvSpPr>
            <p:nvPr/>
          </p:nvSpPr>
          <p:spPr bwMode="auto">
            <a:xfrm>
              <a:off x="956902" y="1201043"/>
              <a:ext cx="2898355" cy="238265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tx2"/>
                    </a:outerShdw>
                  </a:effectLst>
                </a14:hiddenEffects>
              </a:ext>
            </a:extLst>
          </p:spPr>
          <p:txBody>
            <a:bodyPr wrap="square" lIns="0" rIns="0">
              <a:spAutoFit/>
            </a:bodyPr>
            <a:lstStyle>
              <a:defPPr>
                <a:defRPr lang="en-TR"/>
              </a:defPPr>
              <a:lvl1pPr algn="ctr" eaLnBrk="0" fontAlgn="base" hangingPunct="0">
                <a:spcBef>
                  <a:spcPct val="50000"/>
                </a:spcBef>
                <a:spcAft>
                  <a:spcPct val="0"/>
                </a:spcAft>
                <a:buClr>
                  <a:schemeClr val="tx2"/>
                </a:buClr>
                <a:buFont typeface="Wingdings" pitchFamily="2" charset="2"/>
                <a:buNone/>
                <a:defRPr sz="1100">
                  <a:cs typeface="Arial" panose="020B0604020202020204" pitchFamily="34" charset="0"/>
                </a:defRPr>
              </a:lvl1pPr>
              <a:lvl2pPr eaLnBrk="0" fontAlgn="base" hangingPunct="0">
                <a:spcBef>
                  <a:spcPct val="0"/>
                </a:spcBef>
                <a:spcAft>
                  <a:spcPct val="0"/>
                </a:spcAft>
                <a:defRPr>
                  <a:latin typeface="Trebuchet MS" pitchFamily="34" charset="0"/>
                  <a:cs typeface="Arial" charset="0"/>
                </a:defRPr>
              </a:lvl2pPr>
              <a:lvl3pPr eaLnBrk="0" fontAlgn="base" hangingPunct="0">
                <a:spcBef>
                  <a:spcPct val="0"/>
                </a:spcBef>
                <a:spcAft>
                  <a:spcPct val="0"/>
                </a:spcAft>
                <a:defRPr>
                  <a:latin typeface="Trebuchet MS" pitchFamily="34" charset="0"/>
                  <a:cs typeface="Arial" charset="0"/>
                </a:defRPr>
              </a:lvl3pPr>
              <a:lvl4pPr eaLnBrk="0" fontAlgn="base" hangingPunct="0">
                <a:spcBef>
                  <a:spcPct val="0"/>
                </a:spcBef>
                <a:spcAft>
                  <a:spcPct val="0"/>
                </a:spcAft>
                <a:defRPr>
                  <a:latin typeface="Trebuchet MS" pitchFamily="34" charset="0"/>
                  <a:cs typeface="Arial" charset="0"/>
                </a:defRPr>
              </a:lvl4pPr>
              <a:lvl5pPr eaLnBrk="0" fontAlgn="base" hangingPunct="0">
                <a:spcBef>
                  <a:spcPct val="0"/>
                </a:spcBef>
                <a:spcAft>
                  <a:spcPct val="0"/>
                </a:spcAft>
                <a:defRPr>
                  <a:latin typeface="Trebuchet MS" pitchFamily="34" charset="0"/>
                  <a:cs typeface="Arial" charset="0"/>
                </a:defRPr>
              </a:lvl5pPr>
              <a:lvl6pPr>
                <a:defRPr>
                  <a:latin typeface="Trebuchet MS" pitchFamily="34" charset="0"/>
                  <a:cs typeface="Arial" charset="0"/>
                </a:defRPr>
              </a:lvl6pPr>
              <a:lvl7pPr>
                <a:defRPr>
                  <a:latin typeface="Trebuchet MS" pitchFamily="34" charset="0"/>
                  <a:cs typeface="Arial" charset="0"/>
                </a:defRPr>
              </a:lvl7pPr>
              <a:lvl8pPr>
                <a:defRPr>
                  <a:latin typeface="Trebuchet MS" pitchFamily="34" charset="0"/>
                  <a:cs typeface="Arial" charset="0"/>
                </a:defRPr>
              </a:lvl8pPr>
              <a:lvl9pPr>
                <a:defRPr>
                  <a:latin typeface="Trebuchet MS" pitchFamily="34" charset="0"/>
                  <a:cs typeface="Arial" charset="0"/>
                </a:defRPr>
              </a:lvl9pPr>
            </a:lstStyle>
            <a:p>
              <a:pPr defTabSz="914377">
                <a:buClr>
                  <a:srgbClr val="44546A"/>
                </a:buClr>
              </a:pPr>
              <a:r>
                <a:rPr lang="tr-TR" altLang="en-US" b="1" dirty="0">
                  <a:solidFill>
                    <a:prstClr val="black"/>
                  </a:solidFill>
                  <a:latin typeface="Calibri" panose="020F0502020204030204"/>
                </a:rPr>
                <a:t>Performans</a:t>
              </a:r>
            </a:p>
            <a:p>
              <a:pPr defTabSz="914377">
                <a:buClr>
                  <a:srgbClr val="44546A"/>
                </a:buClr>
              </a:pPr>
              <a:r>
                <a:rPr lang="tr-TR" altLang="en-US" dirty="0">
                  <a:solidFill>
                    <a:prstClr val="black"/>
                  </a:solidFill>
                  <a:latin typeface="Calibri" panose="020F0502020204030204"/>
                </a:rPr>
                <a:t>Emre </a:t>
              </a:r>
              <a:r>
                <a:rPr lang="tr-TR" altLang="en-US" dirty="0" err="1">
                  <a:solidFill>
                    <a:prstClr val="black"/>
                  </a:solidFill>
                  <a:latin typeface="Calibri" panose="020F0502020204030204"/>
                </a:rPr>
                <a:t>amadelik</a:t>
              </a:r>
              <a:r>
                <a:rPr lang="tr-TR" altLang="en-US" dirty="0">
                  <a:solidFill>
                    <a:prstClr val="black"/>
                  </a:solidFill>
                  <a:latin typeface="Calibri" panose="020F0502020204030204"/>
                </a:rPr>
                <a:t> / Kullanılabilirliği Maksimize</a:t>
              </a:r>
            </a:p>
            <a:p>
              <a:pPr defTabSz="914377">
                <a:buClr>
                  <a:srgbClr val="44546A"/>
                </a:buClr>
              </a:pPr>
              <a:r>
                <a:rPr lang="tr-TR" altLang="en-US" dirty="0">
                  <a:solidFill>
                    <a:prstClr val="black"/>
                  </a:solidFill>
                  <a:latin typeface="Calibri" panose="020F0502020204030204"/>
                </a:rPr>
                <a:t>Plansız Duruşları Azaltmak</a:t>
              </a:r>
            </a:p>
          </p:txBody>
        </p:sp>
        <p:sp>
          <p:nvSpPr>
            <p:cNvPr id="28" name="Text Box 15">
              <a:extLst>
                <a:ext uri="{FF2B5EF4-FFF2-40B4-BE49-F238E27FC236}">
                  <a16:creationId xmlns:a16="http://schemas.microsoft.com/office/drawing/2014/main" id="{DA044F30-E909-4BF2-9515-DF9922247D33}"/>
                </a:ext>
              </a:extLst>
            </p:cNvPr>
            <p:cNvSpPr txBox="1">
              <a:spLocks noChangeArrowheads="1"/>
            </p:cNvSpPr>
            <p:nvPr/>
          </p:nvSpPr>
          <p:spPr bwMode="auto">
            <a:xfrm>
              <a:off x="4261230" y="4552950"/>
              <a:ext cx="2852802" cy="206688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tx2"/>
                    </a:outerShdw>
                  </a:effectLst>
                </a14:hiddenEffects>
              </a:ext>
            </a:extLst>
          </p:spPr>
          <p:txBody>
            <a:bodyPr wrap="square" lIns="0" rIns="0">
              <a:spAutoFit/>
            </a:bodyPr>
            <a:lstStyle>
              <a:defPPr>
                <a:defRPr lang="en-TR"/>
              </a:defPPr>
              <a:lvl1pPr algn="ctr" eaLnBrk="0" fontAlgn="base" hangingPunct="0">
                <a:spcBef>
                  <a:spcPct val="50000"/>
                </a:spcBef>
                <a:spcAft>
                  <a:spcPct val="0"/>
                </a:spcAft>
                <a:buClr>
                  <a:schemeClr val="tx2"/>
                </a:buClr>
                <a:buFont typeface="Wingdings" pitchFamily="2" charset="2"/>
                <a:buNone/>
                <a:defRPr sz="1100" b="1">
                  <a:cs typeface="Arial" panose="020B0604020202020204" pitchFamily="34" charset="0"/>
                </a:defRPr>
              </a:lvl1pPr>
              <a:lvl2pPr eaLnBrk="0" fontAlgn="base" hangingPunct="0">
                <a:spcBef>
                  <a:spcPct val="0"/>
                </a:spcBef>
                <a:spcAft>
                  <a:spcPct val="0"/>
                </a:spcAft>
                <a:defRPr>
                  <a:latin typeface="Trebuchet MS" pitchFamily="34" charset="0"/>
                  <a:cs typeface="Arial" charset="0"/>
                </a:defRPr>
              </a:lvl2pPr>
              <a:lvl3pPr eaLnBrk="0" fontAlgn="base" hangingPunct="0">
                <a:spcBef>
                  <a:spcPct val="0"/>
                </a:spcBef>
                <a:spcAft>
                  <a:spcPct val="0"/>
                </a:spcAft>
                <a:defRPr>
                  <a:latin typeface="Trebuchet MS" pitchFamily="34" charset="0"/>
                  <a:cs typeface="Arial" charset="0"/>
                </a:defRPr>
              </a:lvl3pPr>
              <a:lvl4pPr eaLnBrk="0" fontAlgn="base" hangingPunct="0">
                <a:spcBef>
                  <a:spcPct val="0"/>
                </a:spcBef>
                <a:spcAft>
                  <a:spcPct val="0"/>
                </a:spcAft>
                <a:defRPr>
                  <a:latin typeface="Trebuchet MS" pitchFamily="34" charset="0"/>
                  <a:cs typeface="Arial" charset="0"/>
                </a:defRPr>
              </a:lvl4pPr>
              <a:lvl5pPr eaLnBrk="0" fontAlgn="base" hangingPunct="0">
                <a:spcBef>
                  <a:spcPct val="0"/>
                </a:spcBef>
                <a:spcAft>
                  <a:spcPct val="0"/>
                </a:spcAft>
                <a:defRPr>
                  <a:latin typeface="Trebuchet MS" pitchFamily="34" charset="0"/>
                  <a:cs typeface="Arial" charset="0"/>
                </a:defRPr>
              </a:lvl5pPr>
              <a:lvl6pPr>
                <a:defRPr>
                  <a:latin typeface="Trebuchet MS" pitchFamily="34" charset="0"/>
                  <a:cs typeface="Arial" charset="0"/>
                </a:defRPr>
              </a:lvl6pPr>
              <a:lvl7pPr>
                <a:defRPr>
                  <a:latin typeface="Trebuchet MS" pitchFamily="34" charset="0"/>
                  <a:cs typeface="Arial" charset="0"/>
                </a:defRPr>
              </a:lvl7pPr>
              <a:lvl8pPr>
                <a:defRPr>
                  <a:latin typeface="Trebuchet MS" pitchFamily="34" charset="0"/>
                  <a:cs typeface="Arial" charset="0"/>
                </a:defRPr>
              </a:lvl8pPr>
              <a:lvl9pPr>
                <a:defRPr>
                  <a:latin typeface="Trebuchet MS" pitchFamily="34" charset="0"/>
                  <a:cs typeface="Arial" charset="0"/>
                </a:defRPr>
              </a:lvl9pPr>
            </a:lstStyle>
            <a:p>
              <a:pPr defTabSz="914377">
                <a:buClr>
                  <a:srgbClr val="44546A"/>
                </a:buClr>
              </a:pPr>
              <a:r>
                <a:rPr lang="tr-TR" altLang="en-US" dirty="0">
                  <a:solidFill>
                    <a:prstClr val="black"/>
                  </a:solidFill>
                  <a:latin typeface="Calibri" panose="020F0502020204030204"/>
                </a:rPr>
                <a:t>Maliyet</a:t>
              </a:r>
              <a:endParaRPr lang="en-GB" altLang="en-US" dirty="0">
                <a:solidFill>
                  <a:prstClr val="black"/>
                </a:solidFill>
                <a:latin typeface="Calibri" panose="020F0502020204030204"/>
              </a:endParaRPr>
            </a:p>
            <a:p>
              <a:pPr defTabSz="914377">
                <a:buClr>
                  <a:srgbClr val="44546A"/>
                </a:buClr>
              </a:pPr>
              <a:r>
                <a:rPr lang="tr-TR" altLang="en-US" b="0" dirty="0">
                  <a:solidFill>
                    <a:prstClr val="black"/>
                  </a:solidFill>
                  <a:latin typeface="Calibri" panose="020F0502020204030204"/>
                </a:rPr>
                <a:t>Maliyet Optimizasyonu</a:t>
              </a:r>
            </a:p>
            <a:p>
              <a:pPr defTabSz="914377">
                <a:buClr>
                  <a:srgbClr val="44546A"/>
                </a:buClr>
              </a:pPr>
              <a:r>
                <a:rPr lang="tr-TR" altLang="en-US" b="0" dirty="0">
                  <a:solidFill>
                    <a:prstClr val="black"/>
                  </a:solidFill>
                  <a:latin typeface="Calibri" panose="020F0502020204030204"/>
                </a:rPr>
                <a:t>Karın maksimize edilmesi</a:t>
              </a:r>
              <a:endParaRPr lang="en-US" altLang="en-US" b="0" dirty="0">
                <a:solidFill>
                  <a:prstClr val="black"/>
                </a:solidFill>
                <a:latin typeface="Calibri" panose="020F0502020204030204"/>
              </a:endParaRPr>
            </a:p>
          </p:txBody>
        </p:sp>
        <p:sp>
          <p:nvSpPr>
            <p:cNvPr id="29" name="Line 7">
              <a:extLst>
                <a:ext uri="{FF2B5EF4-FFF2-40B4-BE49-F238E27FC236}">
                  <a16:creationId xmlns:a16="http://schemas.microsoft.com/office/drawing/2014/main" id="{E8BF6A18-397F-46C4-B0B8-F56E6BAE62A7}"/>
                </a:ext>
              </a:extLst>
            </p:cNvPr>
            <p:cNvSpPr>
              <a:spLocks noChangeShapeType="1"/>
            </p:cNvSpPr>
            <p:nvPr/>
          </p:nvSpPr>
          <p:spPr bwMode="auto">
            <a:xfrm flipH="1">
              <a:off x="5865437" y="2052636"/>
              <a:ext cx="1644651" cy="2401886"/>
            </a:xfrm>
            <a:prstGeom prst="line">
              <a:avLst/>
            </a:prstGeom>
            <a:noFill/>
            <a:ln w="57150">
              <a:solidFill>
                <a:schemeClr val="accent1"/>
              </a:solidFill>
              <a:round/>
              <a:headEnd type="triangle" w="lg" len="lg"/>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tx2"/>
                    </a:outerShdw>
                  </a:effectLst>
                </a14:hiddenEffects>
              </a:ext>
            </a:extLst>
          </p:spPr>
          <p:txBody>
            <a:bodyPr wrap="square" lIns="0" rIns="0" anchor="ctr">
              <a:spAutoFit/>
            </a:bodyPr>
            <a:lstStyle>
              <a:defPPr>
                <a:defRPr lang="nl-NL"/>
              </a:defPPr>
              <a:lvl1pPr algn="l" rtl="0" eaLnBrk="0" fontAlgn="base" hangingPunct="0">
                <a:spcBef>
                  <a:spcPct val="0"/>
                </a:spcBef>
                <a:spcAft>
                  <a:spcPct val="0"/>
                </a:spcAft>
                <a:defRPr kern="1200">
                  <a:solidFill>
                    <a:schemeClr val="tx1"/>
                  </a:solidFill>
                  <a:latin typeface="Trebuchet MS" pitchFamily="34" charset="0"/>
                  <a:ea typeface="+mn-ea"/>
                  <a:cs typeface="Arial" charset="0"/>
                </a:defRPr>
              </a:lvl1pPr>
              <a:lvl2pPr marL="457200" algn="l" rtl="0" eaLnBrk="0" fontAlgn="base" hangingPunct="0">
                <a:spcBef>
                  <a:spcPct val="0"/>
                </a:spcBef>
                <a:spcAft>
                  <a:spcPct val="0"/>
                </a:spcAft>
                <a:defRPr kern="1200">
                  <a:solidFill>
                    <a:schemeClr val="tx1"/>
                  </a:solidFill>
                  <a:latin typeface="Trebuchet MS" pitchFamily="34" charset="0"/>
                  <a:ea typeface="+mn-ea"/>
                  <a:cs typeface="Arial" charset="0"/>
                </a:defRPr>
              </a:lvl2pPr>
              <a:lvl3pPr marL="914400" algn="l" rtl="0" eaLnBrk="0" fontAlgn="base" hangingPunct="0">
                <a:spcBef>
                  <a:spcPct val="0"/>
                </a:spcBef>
                <a:spcAft>
                  <a:spcPct val="0"/>
                </a:spcAft>
                <a:defRPr kern="1200">
                  <a:solidFill>
                    <a:schemeClr val="tx1"/>
                  </a:solidFill>
                  <a:latin typeface="Trebuchet MS" pitchFamily="34" charset="0"/>
                  <a:ea typeface="+mn-ea"/>
                  <a:cs typeface="Arial" charset="0"/>
                </a:defRPr>
              </a:lvl3pPr>
              <a:lvl4pPr marL="1371600" algn="l" rtl="0" eaLnBrk="0" fontAlgn="base" hangingPunct="0">
                <a:spcBef>
                  <a:spcPct val="0"/>
                </a:spcBef>
                <a:spcAft>
                  <a:spcPct val="0"/>
                </a:spcAft>
                <a:defRPr kern="1200">
                  <a:solidFill>
                    <a:schemeClr val="tx1"/>
                  </a:solidFill>
                  <a:latin typeface="Trebuchet MS" pitchFamily="34" charset="0"/>
                  <a:ea typeface="+mn-ea"/>
                  <a:cs typeface="Arial" charset="0"/>
                </a:defRPr>
              </a:lvl4pPr>
              <a:lvl5pPr marL="1828800" algn="l" rtl="0" eaLnBrk="0" fontAlgn="base" hangingPunct="0">
                <a:spcBef>
                  <a:spcPct val="0"/>
                </a:spcBef>
                <a:spcAft>
                  <a:spcPct val="0"/>
                </a:spcAft>
                <a:defRPr kern="1200">
                  <a:solidFill>
                    <a:schemeClr val="tx1"/>
                  </a:solidFill>
                  <a:latin typeface="Trebuchet MS" pitchFamily="34" charset="0"/>
                  <a:ea typeface="+mn-ea"/>
                  <a:cs typeface="Arial" charset="0"/>
                </a:defRPr>
              </a:lvl5pPr>
              <a:lvl6pPr marL="2286000" algn="l" defTabSz="914400" rtl="0" eaLnBrk="1" latinLnBrk="0" hangingPunct="1">
                <a:defRPr kern="1200">
                  <a:solidFill>
                    <a:schemeClr val="tx1"/>
                  </a:solidFill>
                  <a:latin typeface="Trebuchet MS" pitchFamily="34" charset="0"/>
                  <a:ea typeface="+mn-ea"/>
                  <a:cs typeface="Arial" charset="0"/>
                </a:defRPr>
              </a:lvl6pPr>
              <a:lvl7pPr marL="2743200" algn="l" defTabSz="914400" rtl="0" eaLnBrk="1" latinLnBrk="0" hangingPunct="1">
                <a:defRPr kern="1200">
                  <a:solidFill>
                    <a:schemeClr val="tx1"/>
                  </a:solidFill>
                  <a:latin typeface="Trebuchet MS" pitchFamily="34" charset="0"/>
                  <a:ea typeface="+mn-ea"/>
                  <a:cs typeface="Arial" charset="0"/>
                </a:defRPr>
              </a:lvl7pPr>
              <a:lvl8pPr marL="3200400" algn="l" defTabSz="914400" rtl="0" eaLnBrk="1" latinLnBrk="0" hangingPunct="1">
                <a:defRPr kern="1200">
                  <a:solidFill>
                    <a:schemeClr val="tx1"/>
                  </a:solidFill>
                  <a:latin typeface="Trebuchet MS" pitchFamily="34" charset="0"/>
                  <a:ea typeface="+mn-ea"/>
                  <a:cs typeface="Arial" charset="0"/>
                </a:defRPr>
              </a:lvl8pPr>
              <a:lvl9pPr marL="3657600" algn="l" defTabSz="914400" rtl="0" eaLnBrk="1" latinLnBrk="0" hangingPunct="1">
                <a:defRPr kern="1200">
                  <a:solidFill>
                    <a:schemeClr val="tx1"/>
                  </a:solidFill>
                  <a:latin typeface="Trebuchet MS" pitchFamily="34" charset="0"/>
                  <a:ea typeface="+mn-ea"/>
                  <a:cs typeface="Arial" charset="0"/>
                </a:defRPr>
              </a:lvl9pPr>
            </a:lstStyle>
            <a:p>
              <a:pPr defTabSz="914377">
                <a:defRPr/>
              </a:pPr>
              <a:endParaRPr lang="en-US" sz="800">
                <a:solidFill>
                  <a:prstClr val="black"/>
                </a:solidFill>
                <a:latin typeface="Calibri Light" panose="020F0302020204030204"/>
              </a:endParaRPr>
            </a:p>
          </p:txBody>
        </p:sp>
        <p:sp>
          <p:nvSpPr>
            <p:cNvPr id="30" name="Text Box 13">
              <a:extLst>
                <a:ext uri="{FF2B5EF4-FFF2-40B4-BE49-F238E27FC236}">
                  <a16:creationId xmlns:a16="http://schemas.microsoft.com/office/drawing/2014/main" id="{2601A82E-D3B6-44E4-9902-3332A320A40B}"/>
                </a:ext>
              </a:extLst>
            </p:cNvPr>
            <p:cNvSpPr txBox="1">
              <a:spLocks noChangeArrowheads="1"/>
            </p:cNvSpPr>
            <p:nvPr/>
          </p:nvSpPr>
          <p:spPr bwMode="auto">
            <a:xfrm>
              <a:off x="7716811" y="1076144"/>
              <a:ext cx="2982275" cy="184548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3175" algn="ctr">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tx2"/>
                    </a:outerShdw>
                  </a:effectLst>
                </a14:hiddenEffects>
              </a:ext>
            </a:extLst>
          </p:spPr>
          <p:txBody>
            <a:bodyPr wrap="square" lIns="0" rIns="0">
              <a:spAutoFit/>
            </a:bodyPr>
            <a:lstStyle>
              <a:defPPr>
                <a:defRPr lang="nl-NL"/>
              </a:defPPr>
              <a:lvl1pPr algn="l" rtl="0" eaLnBrk="0" fontAlgn="base" hangingPunct="0">
                <a:spcBef>
                  <a:spcPct val="0"/>
                </a:spcBef>
                <a:spcAft>
                  <a:spcPct val="0"/>
                </a:spcAft>
                <a:defRPr kern="1200">
                  <a:solidFill>
                    <a:schemeClr val="tx1"/>
                  </a:solidFill>
                  <a:latin typeface="Trebuchet MS" pitchFamily="34" charset="0"/>
                  <a:ea typeface="+mn-ea"/>
                  <a:cs typeface="Arial" charset="0"/>
                </a:defRPr>
              </a:lvl1pPr>
              <a:lvl2pPr marL="457200" algn="l" rtl="0" eaLnBrk="0" fontAlgn="base" hangingPunct="0">
                <a:spcBef>
                  <a:spcPct val="0"/>
                </a:spcBef>
                <a:spcAft>
                  <a:spcPct val="0"/>
                </a:spcAft>
                <a:defRPr kern="1200">
                  <a:solidFill>
                    <a:schemeClr val="tx1"/>
                  </a:solidFill>
                  <a:latin typeface="Trebuchet MS" pitchFamily="34" charset="0"/>
                  <a:ea typeface="+mn-ea"/>
                  <a:cs typeface="Arial" charset="0"/>
                </a:defRPr>
              </a:lvl2pPr>
              <a:lvl3pPr marL="914400" algn="l" rtl="0" eaLnBrk="0" fontAlgn="base" hangingPunct="0">
                <a:spcBef>
                  <a:spcPct val="0"/>
                </a:spcBef>
                <a:spcAft>
                  <a:spcPct val="0"/>
                </a:spcAft>
                <a:defRPr kern="1200">
                  <a:solidFill>
                    <a:schemeClr val="tx1"/>
                  </a:solidFill>
                  <a:latin typeface="Trebuchet MS" pitchFamily="34" charset="0"/>
                  <a:ea typeface="+mn-ea"/>
                  <a:cs typeface="Arial" charset="0"/>
                </a:defRPr>
              </a:lvl3pPr>
              <a:lvl4pPr marL="1371600" algn="l" rtl="0" eaLnBrk="0" fontAlgn="base" hangingPunct="0">
                <a:spcBef>
                  <a:spcPct val="0"/>
                </a:spcBef>
                <a:spcAft>
                  <a:spcPct val="0"/>
                </a:spcAft>
                <a:defRPr kern="1200">
                  <a:solidFill>
                    <a:schemeClr val="tx1"/>
                  </a:solidFill>
                  <a:latin typeface="Trebuchet MS" pitchFamily="34" charset="0"/>
                  <a:ea typeface="+mn-ea"/>
                  <a:cs typeface="Arial" charset="0"/>
                </a:defRPr>
              </a:lvl4pPr>
              <a:lvl5pPr marL="1828800" algn="l" rtl="0" eaLnBrk="0" fontAlgn="base" hangingPunct="0">
                <a:spcBef>
                  <a:spcPct val="0"/>
                </a:spcBef>
                <a:spcAft>
                  <a:spcPct val="0"/>
                </a:spcAft>
                <a:defRPr kern="1200">
                  <a:solidFill>
                    <a:schemeClr val="tx1"/>
                  </a:solidFill>
                  <a:latin typeface="Trebuchet MS" pitchFamily="34" charset="0"/>
                  <a:ea typeface="+mn-ea"/>
                  <a:cs typeface="Arial" charset="0"/>
                </a:defRPr>
              </a:lvl5pPr>
              <a:lvl6pPr marL="2286000" algn="l" defTabSz="914400" rtl="0" eaLnBrk="1" latinLnBrk="0" hangingPunct="1">
                <a:defRPr kern="1200">
                  <a:solidFill>
                    <a:schemeClr val="tx1"/>
                  </a:solidFill>
                  <a:latin typeface="Trebuchet MS" pitchFamily="34" charset="0"/>
                  <a:ea typeface="+mn-ea"/>
                  <a:cs typeface="Arial" charset="0"/>
                </a:defRPr>
              </a:lvl6pPr>
              <a:lvl7pPr marL="2743200" algn="l" defTabSz="914400" rtl="0" eaLnBrk="1" latinLnBrk="0" hangingPunct="1">
                <a:defRPr kern="1200">
                  <a:solidFill>
                    <a:schemeClr val="tx1"/>
                  </a:solidFill>
                  <a:latin typeface="Trebuchet MS" pitchFamily="34" charset="0"/>
                  <a:ea typeface="+mn-ea"/>
                  <a:cs typeface="Arial" charset="0"/>
                </a:defRPr>
              </a:lvl7pPr>
              <a:lvl8pPr marL="3200400" algn="l" defTabSz="914400" rtl="0" eaLnBrk="1" latinLnBrk="0" hangingPunct="1">
                <a:defRPr kern="1200">
                  <a:solidFill>
                    <a:schemeClr val="tx1"/>
                  </a:solidFill>
                  <a:latin typeface="Trebuchet MS" pitchFamily="34" charset="0"/>
                  <a:ea typeface="+mn-ea"/>
                  <a:cs typeface="Arial" charset="0"/>
                </a:defRPr>
              </a:lvl8pPr>
              <a:lvl9pPr marL="3657600" algn="l" defTabSz="914400" rtl="0" eaLnBrk="1" latinLnBrk="0" hangingPunct="1">
                <a:defRPr kern="1200">
                  <a:solidFill>
                    <a:schemeClr val="tx1"/>
                  </a:solidFill>
                  <a:latin typeface="Trebuchet MS" pitchFamily="34" charset="0"/>
                  <a:ea typeface="+mn-ea"/>
                  <a:cs typeface="Arial" charset="0"/>
                </a:defRPr>
              </a:lvl9pPr>
            </a:lstStyle>
            <a:p>
              <a:pPr algn="ctr" defTabSz="914377">
                <a:spcBef>
                  <a:spcPct val="50000"/>
                </a:spcBef>
                <a:buClr>
                  <a:srgbClr val="44546A"/>
                </a:buClr>
                <a:defRPr/>
              </a:pPr>
              <a:r>
                <a:rPr lang="en-GB" altLang="en-US" sz="1100" b="1" dirty="0">
                  <a:solidFill>
                    <a:prstClr val="black"/>
                  </a:solidFill>
                  <a:latin typeface="Calibri" panose="020F0502020204030204"/>
                  <a:cs typeface="Arial" panose="020B0604020202020204" pitchFamily="34" charset="0"/>
                </a:rPr>
                <a:t>Risk</a:t>
              </a:r>
            </a:p>
            <a:p>
              <a:pPr algn="ctr" defTabSz="914377">
                <a:spcBef>
                  <a:spcPct val="50000"/>
                </a:spcBef>
                <a:buClr>
                  <a:srgbClr val="44546A"/>
                </a:buClr>
                <a:defRPr/>
              </a:pPr>
              <a:r>
                <a:rPr lang="tr-TR" altLang="en-US" sz="1051" dirty="0">
                  <a:solidFill>
                    <a:prstClr val="black"/>
                  </a:solidFill>
                  <a:latin typeface="Calibri" panose="020F0502020204030204"/>
                  <a:cs typeface="Arial" panose="020B0604020202020204" pitchFamily="34" charset="0"/>
                </a:rPr>
                <a:t>Yasalar Uyum</a:t>
              </a:r>
            </a:p>
            <a:p>
              <a:pPr algn="ctr" defTabSz="914377">
                <a:spcBef>
                  <a:spcPct val="50000"/>
                </a:spcBef>
                <a:buClr>
                  <a:srgbClr val="44546A"/>
                </a:buClr>
                <a:defRPr/>
              </a:pPr>
              <a:r>
                <a:rPr lang="tr-TR" altLang="en-US" sz="1051" dirty="0">
                  <a:solidFill>
                    <a:prstClr val="black"/>
                  </a:solidFill>
                  <a:latin typeface="Calibri" panose="020F0502020204030204"/>
                  <a:cs typeface="Arial" panose="020B0604020202020204" pitchFamily="34" charset="0"/>
                </a:rPr>
                <a:t>Proses Güvenliği</a:t>
              </a:r>
            </a:p>
            <a:p>
              <a:pPr algn="ctr" defTabSz="914377">
                <a:spcBef>
                  <a:spcPct val="50000"/>
                </a:spcBef>
                <a:buClr>
                  <a:srgbClr val="44546A"/>
                </a:buClr>
                <a:defRPr/>
              </a:pPr>
              <a:r>
                <a:rPr lang="tr-TR" altLang="en-US" sz="1051" dirty="0">
                  <a:solidFill>
                    <a:prstClr val="black"/>
                  </a:solidFill>
                  <a:latin typeface="Calibri" panose="020F0502020204030204"/>
                  <a:cs typeface="Arial" panose="020B0604020202020204" pitchFamily="34" charset="0"/>
                </a:rPr>
                <a:t>Mekanik Bütünlük</a:t>
              </a:r>
              <a:endParaRPr lang="en-US" altLang="en-US" sz="1051" dirty="0">
                <a:solidFill>
                  <a:prstClr val="black"/>
                </a:solidFill>
                <a:latin typeface="Calibri" panose="020F0502020204030204"/>
                <a:cs typeface="Arial" panose="020B0604020202020204" pitchFamily="34" charset="0"/>
              </a:endParaRPr>
            </a:p>
          </p:txBody>
        </p:sp>
        <p:grpSp>
          <p:nvGrpSpPr>
            <p:cNvPr id="31" name="Group 20">
              <a:extLst>
                <a:ext uri="{FF2B5EF4-FFF2-40B4-BE49-F238E27FC236}">
                  <a16:creationId xmlns:a16="http://schemas.microsoft.com/office/drawing/2014/main" id="{6042406D-6D4A-4EA6-B34B-5612157319E8}"/>
                </a:ext>
              </a:extLst>
            </p:cNvPr>
            <p:cNvGrpSpPr>
              <a:grpSpLocks/>
            </p:cNvGrpSpPr>
            <p:nvPr/>
          </p:nvGrpSpPr>
          <p:grpSpPr bwMode="auto">
            <a:xfrm flipH="1">
              <a:off x="4903261" y="2095879"/>
              <a:ext cx="1609040" cy="1680805"/>
              <a:chOff x="2466" y="2083"/>
              <a:chExt cx="798" cy="843"/>
            </a:xfrm>
            <a:solidFill>
              <a:schemeClr val="accent2">
                <a:lumMod val="20000"/>
                <a:lumOff val="80000"/>
              </a:schemeClr>
            </a:solidFill>
          </p:grpSpPr>
          <p:sp>
            <p:nvSpPr>
              <p:cNvPr id="32" name="Text Box 18">
                <a:extLst>
                  <a:ext uri="{FF2B5EF4-FFF2-40B4-BE49-F238E27FC236}">
                    <a16:creationId xmlns:a16="http://schemas.microsoft.com/office/drawing/2014/main" id="{23E29B15-8926-4220-ABF9-866AC476431E}"/>
                  </a:ext>
                </a:extLst>
              </p:cNvPr>
              <p:cNvSpPr txBox="1">
                <a:spLocks noChangeArrowheads="1"/>
              </p:cNvSpPr>
              <p:nvPr/>
            </p:nvSpPr>
            <p:spPr bwMode="auto">
              <a:xfrm>
                <a:off x="2501" y="2356"/>
                <a:ext cx="703" cy="374"/>
              </a:xfrm>
              <a:prstGeom prst="rect">
                <a:avLst/>
              </a:prstGeom>
              <a:noFill/>
              <a:ln>
                <a:noFill/>
              </a:ln>
              <a:extLst/>
            </p:spPr>
            <p:style>
              <a:lnRef idx="0">
                <a:schemeClr val="accent2"/>
              </a:lnRef>
              <a:fillRef idx="3">
                <a:schemeClr val="accent2"/>
              </a:fillRef>
              <a:effectRef idx="3">
                <a:schemeClr val="accent2"/>
              </a:effectRef>
              <a:fontRef idx="minor">
                <a:schemeClr val="lt1"/>
              </a:fontRef>
            </p:style>
            <p:txBody>
              <a:bodyPr wrap="square" lIns="0" rIns="0">
                <a:spAutoFit/>
              </a:bodyPr>
              <a:lstStyle>
                <a:lvl1pPr indent="1588">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lgn="ctr" defTabSz="914377">
                  <a:spcBef>
                    <a:spcPct val="50000"/>
                  </a:spcBef>
                  <a:buClr>
                    <a:srgbClr val="44546A"/>
                  </a:buClr>
                  <a:defRPr/>
                </a:pPr>
                <a:r>
                  <a:rPr lang="en-GB" altLang="en-US" sz="800" b="1" dirty="0">
                    <a:solidFill>
                      <a:srgbClr val="4472C4"/>
                    </a:solidFill>
                    <a:latin typeface="Calibri Light" panose="020F0302020204030204"/>
                  </a:rPr>
                  <a:t>APM</a:t>
                </a:r>
              </a:p>
              <a:p>
                <a:pPr algn="ctr" defTabSz="914377">
                  <a:spcBef>
                    <a:spcPct val="50000"/>
                  </a:spcBef>
                  <a:buClr>
                    <a:srgbClr val="44546A"/>
                  </a:buClr>
                  <a:defRPr/>
                </a:pPr>
                <a:r>
                  <a:rPr lang="en-GB" altLang="en-US" sz="800" b="1" dirty="0">
                    <a:solidFill>
                      <a:srgbClr val="4472C4"/>
                    </a:solidFill>
                    <a:latin typeface="Calibri Light" panose="020F0302020204030204"/>
                  </a:rPr>
                  <a:t>PROCESS</a:t>
                </a:r>
              </a:p>
            </p:txBody>
          </p:sp>
          <p:sp>
            <p:nvSpPr>
              <p:cNvPr id="33" name="AutoShape 19">
                <a:extLst>
                  <a:ext uri="{FF2B5EF4-FFF2-40B4-BE49-F238E27FC236}">
                    <a16:creationId xmlns:a16="http://schemas.microsoft.com/office/drawing/2014/main" id="{42A6565B-67C3-4F63-9E18-7E03CB8330A8}"/>
                  </a:ext>
                </a:extLst>
              </p:cNvPr>
              <p:cNvSpPr>
                <a:spLocks noChangeAspect="1" noChangeArrowheads="1"/>
              </p:cNvSpPr>
              <p:nvPr/>
            </p:nvSpPr>
            <p:spPr bwMode="auto">
              <a:xfrm rot="5157512" flipV="1">
                <a:off x="2443" y="2106"/>
                <a:ext cx="843" cy="798"/>
              </a:xfrm>
              <a:custGeom>
                <a:avLst/>
                <a:gdLst>
                  <a:gd name="G0" fmla="+- 10552970 0 0"/>
                  <a:gd name="G1" fmla="+- -11796480 0 0"/>
                  <a:gd name="G2" fmla="+- 10552970 0 -11796480"/>
                  <a:gd name="G3" fmla="+- 10800 0 0"/>
                  <a:gd name="G4" fmla="+- 0 0 10552970"/>
                  <a:gd name="T0" fmla="*/ 360 256 1"/>
                  <a:gd name="T1" fmla="*/ 0 256 1"/>
                  <a:gd name="G5" fmla="+- G2 T0 T1"/>
                  <a:gd name="G6" fmla="?: G2 G2 G5"/>
                  <a:gd name="G7" fmla="+- 0 0 G6"/>
                  <a:gd name="G8" fmla="+- 9202 0 0"/>
                  <a:gd name="G9" fmla="+- 0 0 -11796480"/>
                  <a:gd name="G10" fmla="+- 9202 0 2700"/>
                  <a:gd name="G11" fmla="cos G10 10552970"/>
                  <a:gd name="G12" fmla="sin G10 10552970"/>
                  <a:gd name="G13" fmla="cos 13500 10552970"/>
                  <a:gd name="G14" fmla="sin 13500 10552970"/>
                  <a:gd name="G15" fmla="+- G11 10800 0"/>
                  <a:gd name="G16" fmla="+- G12 10800 0"/>
                  <a:gd name="G17" fmla="+- G13 10800 0"/>
                  <a:gd name="G18" fmla="+- G14 10800 0"/>
                  <a:gd name="G19" fmla="*/ 9202 1 2"/>
                  <a:gd name="G20" fmla="+- G19 5400 0"/>
                  <a:gd name="G21" fmla="cos G20 10552970"/>
                  <a:gd name="G22" fmla="sin G20 10552970"/>
                  <a:gd name="G23" fmla="+- G21 10800 0"/>
                  <a:gd name="G24" fmla="+- G12 G23 G22"/>
                  <a:gd name="G25" fmla="+- G22 G23 G11"/>
                  <a:gd name="G26" fmla="cos 10800 10552970"/>
                  <a:gd name="G27" fmla="sin 10800 10552970"/>
                  <a:gd name="G28" fmla="cos 9202 10552970"/>
                  <a:gd name="G29" fmla="sin 9202 10552970"/>
                  <a:gd name="G30" fmla="+- G26 10800 0"/>
                  <a:gd name="G31" fmla="+- G27 10800 0"/>
                  <a:gd name="G32" fmla="+- G28 10800 0"/>
                  <a:gd name="G33" fmla="+- G29 10800 0"/>
                  <a:gd name="G34" fmla="+- G19 5400 0"/>
                  <a:gd name="G35" fmla="cos G34 -11796480"/>
                  <a:gd name="G36" fmla="sin G34 -11796480"/>
                  <a:gd name="G37" fmla="+/ -11796480 10552970 2"/>
                  <a:gd name="T2" fmla="*/ 180 256 1"/>
                  <a:gd name="T3" fmla="*/ 0 256 1"/>
                  <a:gd name="G38" fmla="+- G37 T2 T3"/>
                  <a:gd name="G39" fmla="?: G2 G37 G38"/>
                  <a:gd name="G40" fmla="cos 10800 G39"/>
                  <a:gd name="G41" fmla="sin 10800 G39"/>
                  <a:gd name="G42" fmla="cos 9202 G39"/>
                  <a:gd name="G43" fmla="sin 9202 G39"/>
                  <a:gd name="G44" fmla="+- G40 10800 0"/>
                  <a:gd name="G45" fmla="+- G41 10800 0"/>
                  <a:gd name="G46" fmla="+- G42 10800 0"/>
                  <a:gd name="G47" fmla="+- G43 10800 0"/>
                  <a:gd name="G48" fmla="+- G35 10800 0"/>
                  <a:gd name="G49" fmla="+- G36 10800 0"/>
                  <a:gd name="T4" fmla="*/ 21452 w 21600"/>
                  <a:gd name="T5" fmla="*/ 9019 h 21600"/>
                  <a:gd name="T6" fmla="*/ 799 w 21600"/>
                  <a:gd name="T7" fmla="*/ 10800 h 21600"/>
                  <a:gd name="T8" fmla="*/ 19876 w 21600"/>
                  <a:gd name="T9" fmla="*/ 9283 h 21600"/>
                  <a:gd name="T10" fmla="*/ -1967 w 21600"/>
                  <a:gd name="T11" fmla="*/ 15189 h 21600"/>
                  <a:gd name="T12" fmla="*/ 205 w 21600"/>
                  <a:gd name="T13" fmla="*/ 10742 h 21600"/>
                  <a:gd name="T14" fmla="*/ 4651 w 21600"/>
                  <a:gd name="T15" fmla="*/ 1291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2098" y="13791"/>
                    </a:moveTo>
                    <a:cubicBezTo>
                      <a:pt x="3375" y="17507"/>
                      <a:pt x="6871" y="20002"/>
                      <a:pt x="10800" y="20002"/>
                    </a:cubicBezTo>
                    <a:cubicBezTo>
                      <a:pt x="15882" y="20002"/>
                      <a:pt x="20002" y="15882"/>
                      <a:pt x="20002" y="10800"/>
                    </a:cubicBezTo>
                    <a:cubicBezTo>
                      <a:pt x="20002" y="5717"/>
                      <a:pt x="15882" y="1598"/>
                      <a:pt x="10800" y="1598"/>
                    </a:cubicBezTo>
                    <a:cubicBezTo>
                      <a:pt x="5717" y="1598"/>
                      <a:pt x="1598" y="5717"/>
                      <a:pt x="1598" y="10800"/>
                    </a:cubicBezTo>
                    <a:lnTo>
                      <a:pt x="0" y="10800"/>
                    </a:lnTo>
                    <a:cubicBezTo>
                      <a:pt x="0" y="4835"/>
                      <a:pt x="4835" y="0"/>
                      <a:pt x="10800" y="0"/>
                    </a:cubicBezTo>
                    <a:cubicBezTo>
                      <a:pt x="16764" y="0"/>
                      <a:pt x="21600" y="4835"/>
                      <a:pt x="21600" y="10800"/>
                    </a:cubicBezTo>
                    <a:cubicBezTo>
                      <a:pt x="21600" y="16764"/>
                      <a:pt x="16764" y="21600"/>
                      <a:pt x="10800" y="21600"/>
                    </a:cubicBezTo>
                    <a:cubicBezTo>
                      <a:pt x="6188" y="21600"/>
                      <a:pt x="2086" y="18672"/>
                      <a:pt x="586" y="14311"/>
                    </a:cubicBezTo>
                    <a:lnTo>
                      <a:pt x="-1967" y="15189"/>
                    </a:lnTo>
                    <a:lnTo>
                      <a:pt x="205" y="10742"/>
                    </a:lnTo>
                    <a:lnTo>
                      <a:pt x="4651" y="12914"/>
                    </a:lnTo>
                    <a:lnTo>
                      <a:pt x="2098" y="13791"/>
                    </a:lnTo>
                    <a:close/>
                  </a:path>
                </a:pathLst>
              </a:cu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defTabSz="914377">
                  <a:defRPr/>
                </a:pPr>
                <a:endParaRPr lang="en-US" sz="800">
                  <a:solidFill>
                    <a:prstClr val="white"/>
                  </a:solidFill>
                  <a:latin typeface="Calibri Light" panose="020F0302020204030204"/>
                </a:endParaRPr>
              </a:p>
            </p:txBody>
          </p:sp>
        </p:grpSp>
      </p:grpSp>
      <p:sp>
        <p:nvSpPr>
          <p:cNvPr id="34" name="Yuvarlatılmış Dikdörtgen 3">
            <a:extLst>
              <a:ext uri="{FF2B5EF4-FFF2-40B4-BE49-F238E27FC236}">
                <a16:creationId xmlns:a16="http://schemas.microsoft.com/office/drawing/2014/main" id="{963A2120-7AFB-4446-9324-66A4923278C1}"/>
              </a:ext>
            </a:extLst>
          </p:cNvPr>
          <p:cNvSpPr/>
          <p:nvPr/>
        </p:nvSpPr>
        <p:spPr>
          <a:xfrm>
            <a:off x="7110669" y="1508787"/>
            <a:ext cx="4937992" cy="4704523"/>
          </a:xfrm>
          <a:prstGeom prst="roundRect">
            <a:avLst/>
          </a:prstGeom>
          <a:noFill/>
          <a:ln w="152400" cap="rnd" cmpd="sng"/>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base">
              <a:spcBef>
                <a:spcPct val="0"/>
              </a:spcBef>
              <a:spcAft>
                <a:spcPct val="0"/>
              </a:spcAft>
            </a:pPr>
            <a:endParaRPr lang="tr-TR" sz="2400" dirty="0">
              <a:solidFill>
                <a:prstClr val="white"/>
              </a:solidFill>
              <a:latin typeface="Calibri" panose="020F0502020204030204"/>
            </a:endParaRPr>
          </a:p>
        </p:txBody>
      </p:sp>
      <p:pic>
        <p:nvPicPr>
          <p:cNvPr id="35" name="Resim 34">
            <a:extLst>
              <a:ext uri="{FF2B5EF4-FFF2-40B4-BE49-F238E27FC236}">
                <a16:creationId xmlns:a16="http://schemas.microsoft.com/office/drawing/2014/main" id="{E7D56129-8452-46AD-8FA0-F15D566E41E1}"/>
              </a:ext>
            </a:extLst>
          </p:cNvPr>
          <p:cNvPicPr>
            <a:picLocks noChangeAspect="1"/>
          </p:cNvPicPr>
          <p:nvPr/>
        </p:nvPicPr>
        <p:blipFill>
          <a:blip r:embed="rId13"/>
          <a:stretch>
            <a:fillRect/>
          </a:stretch>
        </p:blipFill>
        <p:spPr>
          <a:xfrm>
            <a:off x="7453894" y="2160343"/>
            <a:ext cx="4410509" cy="3349509"/>
          </a:xfrm>
          <a:prstGeom prst="rect">
            <a:avLst/>
          </a:prstGeom>
        </p:spPr>
      </p:pic>
      <p:sp>
        <p:nvSpPr>
          <p:cNvPr id="36" name="TextBox 28">
            <a:extLst>
              <a:ext uri="{FF2B5EF4-FFF2-40B4-BE49-F238E27FC236}">
                <a16:creationId xmlns:a16="http://schemas.microsoft.com/office/drawing/2014/main" id="{0CCD8C1F-6C48-4A9D-B4BF-BACC43D6F41D}"/>
              </a:ext>
            </a:extLst>
          </p:cNvPr>
          <p:cNvSpPr txBox="1"/>
          <p:nvPr/>
        </p:nvSpPr>
        <p:spPr>
          <a:xfrm>
            <a:off x="5634411" y="1264070"/>
            <a:ext cx="2021964" cy="318100"/>
          </a:xfrm>
          <a:prstGeom prst="rect">
            <a:avLst/>
          </a:prstGeom>
          <a:noFill/>
        </p:spPr>
        <p:txBody>
          <a:bodyPr wrap="none" rtlCol="0">
            <a:spAutoFit/>
          </a:bodyPr>
          <a:lstStyle/>
          <a:p>
            <a:pPr defTabSz="457823"/>
            <a:r>
              <a:rPr lang="tr-TR" sz="1467" b="1" dirty="0">
                <a:solidFill>
                  <a:srgbClr val="FF0000"/>
                </a:solidFill>
                <a:latin typeface="Calibri"/>
                <a:cs typeface="Arial" charset="0"/>
              </a:rPr>
              <a:t>Hedeflerin Belirlenmesi</a:t>
            </a:r>
            <a:endParaRPr lang="en-US" sz="1467" b="1" dirty="0">
              <a:solidFill>
                <a:srgbClr val="FF0000"/>
              </a:solidFill>
              <a:latin typeface="Calibri"/>
              <a:cs typeface="Arial" charset="0"/>
            </a:endParaRPr>
          </a:p>
        </p:txBody>
      </p:sp>
      <p:sp>
        <p:nvSpPr>
          <p:cNvPr id="37" name="TextBox 27">
            <a:extLst>
              <a:ext uri="{FF2B5EF4-FFF2-40B4-BE49-F238E27FC236}">
                <a16:creationId xmlns:a16="http://schemas.microsoft.com/office/drawing/2014/main" id="{B90DC7B6-6C98-46E5-9218-876E22477851}"/>
              </a:ext>
            </a:extLst>
          </p:cNvPr>
          <p:cNvSpPr txBox="1"/>
          <p:nvPr/>
        </p:nvSpPr>
        <p:spPr>
          <a:xfrm>
            <a:off x="5634411" y="6041375"/>
            <a:ext cx="1817934" cy="318100"/>
          </a:xfrm>
          <a:prstGeom prst="rect">
            <a:avLst/>
          </a:prstGeom>
          <a:noFill/>
        </p:spPr>
        <p:txBody>
          <a:bodyPr wrap="none" rtlCol="0">
            <a:spAutoFit/>
          </a:bodyPr>
          <a:lstStyle>
            <a:defPPr>
              <a:defRPr lang="nl-NL"/>
            </a:defPPr>
            <a:lvl1pPr defTabSz="343376" fontAlgn="auto">
              <a:spcBef>
                <a:spcPts val="0"/>
              </a:spcBef>
              <a:spcAft>
                <a:spcPts val="0"/>
              </a:spcAft>
              <a:defRPr sz="1100" b="1">
                <a:solidFill>
                  <a:srgbClr val="FF0000"/>
                </a:solidFill>
                <a:latin typeface="Calibri"/>
                <a:cs typeface="+mn-cs"/>
              </a:defRPr>
            </a:lvl1pPr>
          </a:lstStyle>
          <a:p>
            <a:pPr defTabSz="457823"/>
            <a:r>
              <a:rPr lang="tr-TR" sz="1467" dirty="0"/>
              <a:t>En iyi Karar verilmesi</a:t>
            </a:r>
            <a:endParaRPr lang="en-US" sz="1467" dirty="0"/>
          </a:p>
        </p:txBody>
      </p:sp>
      <p:pic>
        <p:nvPicPr>
          <p:cNvPr id="38" name="Resim 37">
            <a:extLst>
              <a:ext uri="{FF2B5EF4-FFF2-40B4-BE49-F238E27FC236}">
                <a16:creationId xmlns:a16="http://schemas.microsoft.com/office/drawing/2014/main" id="{EDE9EA9A-3A7D-4B5D-B4CF-16FD711803ED}"/>
              </a:ext>
            </a:extLst>
          </p:cNvPr>
          <p:cNvPicPr>
            <a:picLocks noChangeAspect="1"/>
          </p:cNvPicPr>
          <p:nvPr/>
        </p:nvPicPr>
        <p:blipFill>
          <a:blip r:embed="rId14"/>
          <a:stretch>
            <a:fillRect/>
          </a:stretch>
        </p:blipFill>
        <p:spPr>
          <a:xfrm>
            <a:off x="5099985" y="3169015"/>
            <a:ext cx="1462372" cy="1324884"/>
          </a:xfrm>
          <a:prstGeom prst="rect">
            <a:avLst/>
          </a:prstGeom>
        </p:spPr>
      </p:pic>
    </p:spTree>
    <p:extLst>
      <p:ext uri="{BB962C8B-B14F-4D97-AF65-F5344CB8AC3E}">
        <p14:creationId xmlns:p14="http://schemas.microsoft.com/office/powerpoint/2010/main" val="1615912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15" name="Grafik 7">
            <a:extLst>
              <a:ext uri="{FF2B5EF4-FFF2-40B4-BE49-F238E27FC236}">
                <a16:creationId xmlns:a16="http://schemas.microsoft.com/office/drawing/2014/main" id="{143405D5-FE34-48BA-A579-63DC47571F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27" y="6287609"/>
            <a:ext cx="1283363" cy="303016"/>
          </a:xfrm>
          <a:prstGeom prst="rect">
            <a:avLst/>
          </a:prstGeom>
        </p:spPr>
      </p:pic>
      <p:sp>
        <p:nvSpPr>
          <p:cNvPr id="43" name="Isosceles Triangle 7">
            <a:extLst>
              <a:ext uri="{FF2B5EF4-FFF2-40B4-BE49-F238E27FC236}">
                <a16:creationId xmlns:a16="http://schemas.microsoft.com/office/drawing/2014/main" id="{C63CB372-5097-4A9C-808C-321AD1CDF9E0}"/>
              </a:ext>
            </a:extLst>
          </p:cNvPr>
          <p:cNvSpPr/>
          <p:nvPr/>
        </p:nvSpPr>
        <p:spPr bwMode="gray">
          <a:xfrm rot="5400000">
            <a:off x="4173420" y="3713983"/>
            <a:ext cx="4448169" cy="316003"/>
          </a:xfrm>
          <a:prstGeom prst="triangle">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1981" tIns="71981" rIns="71981" bIns="71981" numCol="1" rtlCol="0" anchor="t" anchorCtr="0" compatLnSpc="1">
            <a:prstTxWarp prst="textNoShape">
              <a:avLst/>
            </a:prstTxWarp>
            <a:noAutofit/>
          </a:bodyPr>
          <a:lstStyle/>
          <a:p>
            <a:pPr defTabSz="914104" fontAlgn="base">
              <a:spcBef>
                <a:spcPct val="0"/>
              </a:spcBef>
              <a:spcAft>
                <a:spcPts val="300"/>
              </a:spcAft>
              <a:defRPr/>
            </a:pPr>
            <a:endParaRPr lang="en-GB" sz="1600" kern="0" dirty="0" err="1">
              <a:solidFill>
                <a:sysClr val="windowText" lastClr="000000"/>
              </a:solidFill>
              <a:latin typeface="Arial" pitchFamily="34" charset="0"/>
              <a:cs typeface="Arial" pitchFamily="34" charset="0"/>
            </a:endParaRPr>
          </a:p>
        </p:txBody>
      </p:sp>
      <p:grpSp>
        <p:nvGrpSpPr>
          <p:cNvPr id="44" name="Grup 43">
            <a:extLst>
              <a:ext uri="{FF2B5EF4-FFF2-40B4-BE49-F238E27FC236}">
                <a16:creationId xmlns:a16="http://schemas.microsoft.com/office/drawing/2014/main" id="{24F99892-1528-4E78-9D9A-C55541B91C47}"/>
              </a:ext>
            </a:extLst>
          </p:cNvPr>
          <p:cNvGrpSpPr/>
          <p:nvPr/>
        </p:nvGrpSpPr>
        <p:grpSpPr>
          <a:xfrm>
            <a:off x="551950" y="1628194"/>
            <a:ext cx="4990021" cy="4194802"/>
            <a:chOff x="531522" y="1628194"/>
            <a:chExt cx="4990021" cy="4194802"/>
          </a:xfrm>
        </p:grpSpPr>
        <p:graphicFrame>
          <p:nvGraphicFramePr>
            <p:cNvPr id="45" name="Diyagram 44">
              <a:extLst>
                <a:ext uri="{FF2B5EF4-FFF2-40B4-BE49-F238E27FC236}">
                  <a16:creationId xmlns:a16="http://schemas.microsoft.com/office/drawing/2014/main" id="{B7E6186A-7EFF-46F1-8B8D-C1E146FD9F83}"/>
                </a:ext>
              </a:extLst>
            </p:cNvPr>
            <p:cNvGraphicFramePr/>
            <p:nvPr>
              <p:extLst/>
            </p:nvPr>
          </p:nvGraphicFramePr>
          <p:xfrm>
            <a:off x="531522" y="1628194"/>
            <a:ext cx="4990021" cy="419480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46" name="Diyagram 45">
              <a:extLst>
                <a:ext uri="{FF2B5EF4-FFF2-40B4-BE49-F238E27FC236}">
                  <a16:creationId xmlns:a16="http://schemas.microsoft.com/office/drawing/2014/main" id="{949252A1-2D7B-40C5-AC9C-205A5149B272}"/>
                </a:ext>
              </a:extLst>
            </p:cNvPr>
            <p:cNvGraphicFramePr/>
            <p:nvPr>
              <p:extLst>
                <p:ext uri="{D42A27DB-BD31-4B8C-83A1-F6EECF244321}">
                  <p14:modId xmlns:p14="http://schemas.microsoft.com/office/powerpoint/2010/main" val="2461985973"/>
                </p:ext>
              </p:extLst>
            </p:nvPr>
          </p:nvGraphicFramePr>
          <p:xfrm>
            <a:off x="948601" y="2024575"/>
            <a:ext cx="4155861" cy="328901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grpSp>
        <p:nvGrpSpPr>
          <p:cNvPr id="47" name="Grup 46">
            <a:extLst>
              <a:ext uri="{FF2B5EF4-FFF2-40B4-BE49-F238E27FC236}">
                <a16:creationId xmlns:a16="http://schemas.microsoft.com/office/drawing/2014/main" id="{95AAC189-F510-4B76-BDD6-D6009346604D}"/>
              </a:ext>
            </a:extLst>
          </p:cNvPr>
          <p:cNvGrpSpPr/>
          <p:nvPr/>
        </p:nvGrpSpPr>
        <p:grpSpPr>
          <a:xfrm>
            <a:off x="6776788" y="1488796"/>
            <a:ext cx="5198500" cy="4599804"/>
            <a:chOff x="6776788" y="1488796"/>
            <a:chExt cx="5198500" cy="4599804"/>
          </a:xfrm>
        </p:grpSpPr>
        <p:grpSp>
          <p:nvGrpSpPr>
            <p:cNvPr id="48" name="Grup 47">
              <a:extLst>
                <a:ext uri="{FF2B5EF4-FFF2-40B4-BE49-F238E27FC236}">
                  <a16:creationId xmlns:a16="http://schemas.microsoft.com/office/drawing/2014/main" id="{9B1806DA-120B-4754-9956-58297FB7FACE}"/>
                </a:ext>
              </a:extLst>
            </p:cNvPr>
            <p:cNvGrpSpPr/>
            <p:nvPr/>
          </p:nvGrpSpPr>
          <p:grpSpPr>
            <a:xfrm>
              <a:off x="7564924" y="2117852"/>
              <a:ext cx="3766741" cy="3182557"/>
              <a:chOff x="-30698" y="0"/>
              <a:chExt cx="2898026" cy="2849271"/>
            </a:xfrm>
          </p:grpSpPr>
          <p:sp>
            <p:nvSpPr>
              <p:cNvPr id="62" name="Altıgen 61">
                <a:extLst>
                  <a:ext uri="{FF2B5EF4-FFF2-40B4-BE49-F238E27FC236}">
                    <a16:creationId xmlns:a16="http://schemas.microsoft.com/office/drawing/2014/main" id="{98F7F395-80E7-4521-AD48-970DF16EB05F}"/>
                  </a:ext>
                </a:extLst>
              </p:cNvPr>
              <p:cNvSpPr/>
              <p:nvPr/>
            </p:nvSpPr>
            <p:spPr>
              <a:xfrm>
                <a:off x="1755648" y="482803"/>
                <a:ext cx="1060704" cy="914400"/>
              </a:xfrm>
              <a:prstGeom prst="hexagon">
                <a:avLst/>
              </a:prstGeom>
              <a:solidFill>
                <a:srgbClr val="288DC3">
                  <a:lumMod val="20000"/>
                  <a:lumOff val="80000"/>
                </a:srgb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rPr>
                  <a:t>Emre Amadelik&amp; Güvenilirlik</a:t>
                </a:r>
                <a:endParaRPr kumimoji="0" lang="tr-TR" sz="16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endParaRPr>
              </a:p>
            </p:txBody>
          </p:sp>
          <p:sp>
            <p:nvSpPr>
              <p:cNvPr id="63" name="Altıgen 62">
                <a:extLst>
                  <a:ext uri="{FF2B5EF4-FFF2-40B4-BE49-F238E27FC236}">
                    <a16:creationId xmlns:a16="http://schemas.microsoft.com/office/drawing/2014/main" id="{CAB34925-3AAF-420B-8676-5D816FCF992B}"/>
                  </a:ext>
                </a:extLst>
              </p:cNvPr>
              <p:cNvSpPr/>
              <p:nvPr/>
            </p:nvSpPr>
            <p:spPr>
              <a:xfrm>
                <a:off x="863193" y="0"/>
                <a:ext cx="1060704" cy="914400"/>
              </a:xfrm>
              <a:prstGeom prst="hexagon">
                <a:avLst/>
              </a:prstGeom>
              <a:solidFill>
                <a:srgbClr val="288DC3">
                  <a:lumMod val="20000"/>
                  <a:lumOff val="80000"/>
                </a:srgbClr>
              </a:solidFill>
              <a:ln w="12700" cap="flat" cmpd="sng" algn="ctr">
                <a:solidFill>
                  <a:srgbClr val="5B9BD5">
                    <a:shade val="50000"/>
                  </a:srgbClr>
                </a:solid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90170" marR="381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rPr>
                  <a:t>Varlık Yasal Uyumu</a:t>
                </a:r>
                <a:endParaRPr kumimoji="0" lang="tr-TR" sz="16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endParaRPr>
              </a:p>
            </p:txBody>
          </p:sp>
          <p:sp>
            <p:nvSpPr>
              <p:cNvPr id="64" name="Altıgen 63">
                <a:extLst>
                  <a:ext uri="{FF2B5EF4-FFF2-40B4-BE49-F238E27FC236}">
                    <a16:creationId xmlns:a16="http://schemas.microsoft.com/office/drawing/2014/main" id="{22CFC733-AF4A-4A9B-BB61-5B7F601E1367}"/>
                  </a:ext>
                </a:extLst>
              </p:cNvPr>
              <p:cNvSpPr/>
              <p:nvPr/>
            </p:nvSpPr>
            <p:spPr>
              <a:xfrm>
                <a:off x="870509" y="980237"/>
                <a:ext cx="1060704" cy="914400"/>
              </a:xfrm>
              <a:prstGeom prst="hexagon">
                <a:avLst/>
              </a:prstGeom>
              <a:solidFill>
                <a:srgbClr val="288DC3">
                  <a:lumMod val="40000"/>
                  <a:lumOff val="60000"/>
                </a:srgb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rPr>
                  <a:t>SEÇ &amp; Proses Güvenliği</a:t>
                </a:r>
                <a:endParaRPr kumimoji="0" lang="tr-TR" sz="16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endParaRPr>
              </a:p>
            </p:txBody>
          </p:sp>
          <p:sp>
            <p:nvSpPr>
              <p:cNvPr id="65" name="Altıgen 64">
                <a:extLst>
                  <a:ext uri="{FF2B5EF4-FFF2-40B4-BE49-F238E27FC236}">
                    <a16:creationId xmlns:a16="http://schemas.microsoft.com/office/drawing/2014/main" id="{CE8677C2-4CC7-40D2-8D7B-83BA4A5031B8}"/>
                  </a:ext>
                </a:extLst>
              </p:cNvPr>
              <p:cNvSpPr/>
              <p:nvPr/>
            </p:nvSpPr>
            <p:spPr>
              <a:xfrm>
                <a:off x="1806624" y="1439376"/>
                <a:ext cx="1060704" cy="914400"/>
              </a:xfrm>
              <a:prstGeom prst="hexagon">
                <a:avLst/>
              </a:prstGeom>
              <a:solidFill>
                <a:srgbClr val="9A7AB2">
                  <a:lumMod val="20000"/>
                  <a:lumOff val="80000"/>
                </a:srgb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rPr>
                  <a:t>Maliyet</a:t>
                </a:r>
                <a:endParaRPr kumimoji="0" lang="tr-TR" sz="16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endParaRPr>
              </a:p>
            </p:txBody>
          </p:sp>
          <p:sp>
            <p:nvSpPr>
              <p:cNvPr id="66" name="Altıgen 65">
                <a:extLst>
                  <a:ext uri="{FF2B5EF4-FFF2-40B4-BE49-F238E27FC236}">
                    <a16:creationId xmlns:a16="http://schemas.microsoft.com/office/drawing/2014/main" id="{2D2C1C33-EAE5-4B9E-8379-D2DE7C0B2153}"/>
                  </a:ext>
                </a:extLst>
              </p:cNvPr>
              <p:cNvSpPr/>
              <p:nvPr/>
            </p:nvSpPr>
            <p:spPr>
              <a:xfrm>
                <a:off x="-30698" y="482803"/>
                <a:ext cx="1060704" cy="914400"/>
              </a:xfrm>
              <a:prstGeom prst="hexagon">
                <a:avLst/>
              </a:prstGeom>
              <a:solidFill>
                <a:srgbClr val="0D4577">
                  <a:lumMod val="20000"/>
                  <a:lumOff val="80000"/>
                </a:srgb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rPr>
                  <a:t>Inovasyon</a:t>
                </a:r>
                <a:r>
                  <a:rPr kumimoji="0" lang="tr-TR" sz="9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rPr>
                  <a:t> &amp; İyileştirme</a:t>
                </a:r>
                <a:endParaRPr kumimoji="0" lang="tr-TR" sz="16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endParaRPr>
              </a:p>
            </p:txBody>
          </p:sp>
          <p:sp>
            <p:nvSpPr>
              <p:cNvPr id="67" name="Altıgen 66">
                <a:extLst>
                  <a:ext uri="{FF2B5EF4-FFF2-40B4-BE49-F238E27FC236}">
                    <a16:creationId xmlns:a16="http://schemas.microsoft.com/office/drawing/2014/main" id="{CDD7DC36-8BE1-49F3-A363-20AC3F59DABD}"/>
                  </a:ext>
                </a:extLst>
              </p:cNvPr>
              <p:cNvSpPr/>
              <p:nvPr/>
            </p:nvSpPr>
            <p:spPr>
              <a:xfrm>
                <a:off x="-30698" y="1448410"/>
                <a:ext cx="1060704" cy="914400"/>
              </a:xfrm>
              <a:prstGeom prst="hexagon">
                <a:avLst/>
              </a:prstGeom>
              <a:solidFill>
                <a:srgbClr val="9A7AB2">
                  <a:lumMod val="20000"/>
                  <a:lumOff val="80000"/>
                </a:srgb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rPr>
                  <a:t>Varlık Yaşam Döngüsü</a:t>
                </a:r>
                <a:endParaRPr kumimoji="0" lang="tr-TR" sz="16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endParaRPr>
              </a:p>
            </p:txBody>
          </p:sp>
          <p:sp>
            <p:nvSpPr>
              <p:cNvPr id="68" name="Altıgen 67">
                <a:extLst>
                  <a:ext uri="{FF2B5EF4-FFF2-40B4-BE49-F238E27FC236}">
                    <a16:creationId xmlns:a16="http://schemas.microsoft.com/office/drawing/2014/main" id="{1DF7CCA8-B7AF-4782-AE69-8628DB5FE332}"/>
                  </a:ext>
                </a:extLst>
              </p:cNvPr>
              <p:cNvSpPr/>
              <p:nvPr/>
            </p:nvSpPr>
            <p:spPr>
              <a:xfrm>
                <a:off x="870509" y="1934871"/>
                <a:ext cx="1060704" cy="914400"/>
              </a:xfrm>
              <a:prstGeom prst="hexagon">
                <a:avLst/>
              </a:prstGeom>
              <a:solidFill>
                <a:srgbClr val="52A944">
                  <a:lumMod val="40000"/>
                  <a:lumOff val="60000"/>
                </a:srgb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50000"/>
                  </a:lnSpc>
                  <a:spcBef>
                    <a:spcPts val="600"/>
                  </a:spcBef>
                  <a:spcAft>
                    <a:spcPts val="600"/>
                  </a:spcAft>
                  <a:buClrTx/>
                  <a:buSzTx/>
                  <a:buFontTx/>
                  <a:buNone/>
                  <a:tabLst/>
                  <a:defRPr/>
                </a:pPr>
                <a:r>
                  <a:rPr kumimoji="0" lang="tr-TR" sz="9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rPr>
                  <a:t>Varlık Çıktısı Verimlilik</a:t>
                </a:r>
                <a:endParaRPr kumimoji="0" lang="tr-TR" sz="16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endParaRPr>
              </a:p>
            </p:txBody>
          </p:sp>
        </p:grpSp>
        <p:grpSp>
          <p:nvGrpSpPr>
            <p:cNvPr id="49" name="Grup 48">
              <a:extLst>
                <a:ext uri="{FF2B5EF4-FFF2-40B4-BE49-F238E27FC236}">
                  <a16:creationId xmlns:a16="http://schemas.microsoft.com/office/drawing/2014/main" id="{C01274DC-183E-4690-A088-4868F851B464}"/>
                </a:ext>
              </a:extLst>
            </p:cNvPr>
            <p:cNvGrpSpPr/>
            <p:nvPr/>
          </p:nvGrpSpPr>
          <p:grpSpPr>
            <a:xfrm>
              <a:off x="6776788" y="1488796"/>
              <a:ext cx="5198500" cy="4599804"/>
              <a:chOff x="6776788" y="1488796"/>
              <a:chExt cx="5198500" cy="4599804"/>
            </a:xfrm>
          </p:grpSpPr>
          <p:sp>
            <p:nvSpPr>
              <p:cNvPr id="50" name="Serbest Form 38">
                <a:extLst>
                  <a:ext uri="{FF2B5EF4-FFF2-40B4-BE49-F238E27FC236}">
                    <a16:creationId xmlns:a16="http://schemas.microsoft.com/office/drawing/2014/main" id="{2A3080B2-4D03-43AC-AE4C-3BB0D5CF1532}"/>
                  </a:ext>
                </a:extLst>
              </p:cNvPr>
              <p:cNvSpPr/>
              <p:nvPr/>
            </p:nvSpPr>
            <p:spPr>
              <a:xfrm rot="2093240">
                <a:off x="9982680" y="1498206"/>
                <a:ext cx="942174" cy="942174"/>
              </a:xfrm>
              <a:custGeom>
                <a:avLst/>
                <a:gdLst>
                  <a:gd name="connsiteX0" fmla="*/ 0 w 942174"/>
                  <a:gd name="connsiteY0" fmla="*/ 0 h 942174"/>
                  <a:gd name="connsiteX1" fmla="*/ 942174 w 942174"/>
                  <a:gd name="connsiteY1" fmla="*/ 0 h 942174"/>
                  <a:gd name="connsiteX2" fmla="*/ 942174 w 942174"/>
                  <a:gd name="connsiteY2" fmla="*/ 942174 h 942174"/>
                  <a:gd name="connsiteX3" fmla="*/ 0 w 942174"/>
                  <a:gd name="connsiteY3" fmla="*/ 942174 h 942174"/>
                  <a:gd name="connsiteX4" fmla="*/ 0 w 942174"/>
                  <a:gd name="connsiteY4" fmla="*/ 0 h 94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174" h="942174">
                    <a:moveTo>
                      <a:pt x="0" y="0"/>
                    </a:moveTo>
                    <a:lnTo>
                      <a:pt x="942174" y="0"/>
                    </a:lnTo>
                    <a:lnTo>
                      <a:pt x="942174" y="942174"/>
                    </a:lnTo>
                    <a:lnTo>
                      <a:pt x="0" y="942174"/>
                    </a:lnTo>
                    <a:lnTo>
                      <a:pt x="0" y="0"/>
                    </a:lnTo>
                    <a:close/>
                  </a:path>
                </a:pathLst>
              </a:custGeom>
              <a:noFill/>
              <a:ln>
                <a:noFill/>
              </a:ln>
              <a:effectLst/>
            </p:spPr>
            <p:txBody>
              <a:bodyPr spcFirstLastPara="0" vert="horz" wrap="square" lIns="12700" tIns="12699" rIns="12699" bIns="127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tr-TR" sz="1000" b="1" i="0" u="none" strike="noStrike" kern="0" cap="none" spc="0" normalizeH="0" baseline="0" noProof="0" dirty="0">
                    <a:ln>
                      <a:noFill/>
                    </a:ln>
                    <a:solidFill>
                      <a:sysClr val="windowText" lastClr="000000">
                        <a:hueOff val="0"/>
                        <a:satOff val="0"/>
                        <a:lumOff val="0"/>
                        <a:alphaOff val="0"/>
                      </a:sysClr>
                    </a:solidFill>
                    <a:effectLst/>
                    <a:uLnTx/>
                    <a:uFillTx/>
                    <a:latin typeface="Trebuchet MS"/>
                    <a:ea typeface="+mn-ea"/>
                    <a:cs typeface="+mn-cs"/>
                  </a:rPr>
                  <a:t>İş devamlılığı</a:t>
                </a:r>
              </a:p>
            </p:txBody>
          </p:sp>
          <p:sp>
            <p:nvSpPr>
              <p:cNvPr id="51" name="Çember Ok 39">
                <a:extLst>
                  <a:ext uri="{FF2B5EF4-FFF2-40B4-BE49-F238E27FC236}">
                    <a16:creationId xmlns:a16="http://schemas.microsoft.com/office/drawing/2014/main" id="{DA48D7BB-C572-4731-821D-310E31A480A4}"/>
                  </a:ext>
                </a:extLst>
              </p:cNvPr>
              <p:cNvSpPr/>
              <p:nvPr/>
            </p:nvSpPr>
            <p:spPr>
              <a:xfrm>
                <a:off x="7103431" y="1488796"/>
                <a:ext cx="4599804" cy="4599804"/>
              </a:xfrm>
              <a:prstGeom prst="circularArrow">
                <a:avLst>
                  <a:gd name="adj1" fmla="val 3990"/>
                  <a:gd name="adj2" fmla="val 250290"/>
                  <a:gd name="adj3" fmla="val 20573170"/>
                  <a:gd name="adj4" fmla="val 18982995"/>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52" name="Serbest Form 40">
                <a:extLst>
                  <a:ext uri="{FF2B5EF4-FFF2-40B4-BE49-F238E27FC236}">
                    <a16:creationId xmlns:a16="http://schemas.microsoft.com/office/drawing/2014/main" id="{5E4AE101-B13A-47F6-A0B4-DABEF0C40211}"/>
                  </a:ext>
                </a:extLst>
              </p:cNvPr>
              <p:cNvSpPr/>
              <p:nvPr/>
            </p:nvSpPr>
            <p:spPr>
              <a:xfrm rot="5400000">
                <a:off x="11033114" y="3317611"/>
                <a:ext cx="942174" cy="942174"/>
              </a:xfrm>
              <a:custGeom>
                <a:avLst/>
                <a:gdLst>
                  <a:gd name="connsiteX0" fmla="*/ 0 w 942174"/>
                  <a:gd name="connsiteY0" fmla="*/ 0 h 942174"/>
                  <a:gd name="connsiteX1" fmla="*/ 942174 w 942174"/>
                  <a:gd name="connsiteY1" fmla="*/ 0 h 942174"/>
                  <a:gd name="connsiteX2" fmla="*/ 942174 w 942174"/>
                  <a:gd name="connsiteY2" fmla="*/ 942174 h 942174"/>
                  <a:gd name="connsiteX3" fmla="*/ 0 w 942174"/>
                  <a:gd name="connsiteY3" fmla="*/ 942174 h 942174"/>
                  <a:gd name="connsiteX4" fmla="*/ 0 w 942174"/>
                  <a:gd name="connsiteY4" fmla="*/ 0 h 94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174" h="942174">
                    <a:moveTo>
                      <a:pt x="0" y="0"/>
                    </a:moveTo>
                    <a:lnTo>
                      <a:pt x="942174" y="0"/>
                    </a:lnTo>
                    <a:lnTo>
                      <a:pt x="942174" y="942174"/>
                    </a:lnTo>
                    <a:lnTo>
                      <a:pt x="0" y="942174"/>
                    </a:lnTo>
                    <a:lnTo>
                      <a:pt x="0" y="0"/>
                    </a:lnTo>
                    <a:close/>
                  </a:path>
                </a:pathLst>
              </a:custGeom>
              <a:noFill/>
              <a:ln>
                <a:noFill/>
              </a:ln>
              <a:effectLst/>
            </p:spPr>
            <p:txBody>
              <a:bodyPr spcFirstLastPara="0" vert="horz" wrap="square" lIns="12700" tIns="12700" rIns="12700" bIns="127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tr-TR" sz="1000" b="1" i="0" u="none" strike="noStrike" kern="0" cap="none" spc="0" normalizeH="0" baseline="0" noProof="0">
                    <a:ln>
                      <a:noFill/>
                    </a:ln>
                    <a:solidFill>
                      <a:sysClr val="windowText" lastClr="000000">
                        <a:hueOff val="0"/>
                        <a:satOff val="0"/>
                        <a:lumOff val="0"/>
                        <a:alphaOff val="0"/>
                      </a:sysClr>
                    </a:solidFill>
                    <a:effectLst/>
                    <a:uLnTx/>
                    <a:uFillTx/>
                    <a:latin typeface="Trebuchet MS"/>
                    <a:ea typeface="+mn-ea"/>
                    <a:cs typeface="+mn-cs"/>
                  </a:rPr>
                  <a:t>Dağıtım</a:t>
                </a:r>
              </a:p>
            </p:txBody>
          </p:sp>
          <p:sp>
            <p:nvSpPr>
              <p:cNvPr id="53" name="Çember Ok 41">
                <a:extLst>
                  <a:ext uri="{FF2B5EF4-FFF2-40B4-BE49-F238E27FC236}">
                    <a16:creationId xmlns:a16="http://schemas.microsoft.com/office/drawing/2014/main" id="{CA042EFF-97E4-43C5-96D6-5B51731F5C7B}"/>
                  </a:ext>
                </a:extLst>
              </p:cNvPr>
              <p:cNvSpPr/>
              <p:nvPr/>
            </p:nvSpPr>
            <p:spPr>
              <a:xfrm>
                <a:off x="7103431" y="1488796"/>
                <a:ext cx="4599804" cy="4599804"/>
              </a:xfrm>
              <a:prstGeom prst="circularArrow">
                <a:avLst>
                  <a:gd name="adj1" fmla="val 3990"/>
                  <a:gd name="adj2" fmla="val 250290"/>
                  <a:gd name="adj3" fmla="val 2366715"/>
                  <a:gd name="adj4" fmla="val 776540"/>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54" name="Serbest Form 42">
                <a:extLst>
                  <a:ext uri="{FF2B5EF4-FFF2-40B4-BE49-F238E27FC236}">
                    <a16:creationId xmlns:a16="http://schemas.microsoft.com/office/drawing/2014/main" id="{303B7A46-98EB-4A9F-BA6E-8797B23A2CFC}"/>
                  </a:ext>
                </a:extLst>
              </p:cNvPr>
              <p:cNvSpPr/>
              <p:nvPr/>
            </p:nvSpPr>
            <p:spPr>
              <a:xfrm rot="19536997">
                <a:off x="9982680" y="5137016"/>
                <a:ext cx="942174" cy="942174"/>
              </a:xfrm>
              <a:custGeom>
                <a:avLst/>
                <a:gdLst>
                  <a:gd name="connsiteX0" fmla="*/ 0 w 942174"/>
                  <a:gd name="connsiteY0" fmla="*/ 0 h 942174"/>
                  <a:gd name="connsiteX1" fmla="*/ 942174 w 942174"/>
                  <a:gd name="connsiteY1" fmla="*/ 0 h 942174"/>
                  <a:gd name="connsiteX2" fmla="*/ 942174 w 942174"/>
                  <a:gd name="connsiteY2" fmla="*/ 942174 h 942174"/>
                  <a:gd name="connsiteX3" fmla="*/ 0 w 942174"/>
                  <a:gd name="connsiteY3" fmla="*/ 942174 h 942174"/>
                  <a:gd name="connsiteX4" fmla="*/ 0 w 942174"/>
                  <a:gd name="connsiteY4" fmla="*/ 0 h 94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174" h="942174">
                    <a:moveTo>
                      <a:pt x="0" y="0"/>
                    </a:moveTo>
                    <a:lnTo>
                      <a:pt x="942174" y="0"/>
                    </a:lnTo>
                    <a:lnTo>
                      <a:pt x="942174" y="942174"/>
                    </a:lnTo>
                    <a:lnTo>
                      <a:pt x="0" y="942174"/>
                    </a:lnTo>
                    <a:lnTo>
                      <a:pt x="0" y="0"/>
                    </a:lnTo>
                    <a:close/>
                  </a:path>
                </a:pathLst>
              </a:custGeom>
              <a:noFill/>
              <a:ln>
                <a:noFill/>
              </a:ln>
              <a:effectLst/>
            </p:spPr>
            <p:txBody>
              <a:bodyPr spcFirstLastPara="0" vert="horz" wrap="square" lIns="12699" tIns="12700" rIns="12699" bIns="127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tr-TR" sz="1000" b="1" i="0" u="none" strike="noStrike" kern="0" cap="none" spc="0" normalizeH="0" baseline="0" noProof="0">
                    <a:ln>
                      <a:noFill/>
                    </a:ln>
                    <a:solidFill>
                      <a:sysClr val="windowText" lastClr="000000">
                        <a:hueOff val="0"/>
                        <a:satOff val="0"/>
                        <a:lumOff val="0"/>
                        <a:alphaOff val="0"/>
                      </a:sysClr>
                    </a:solidFill>
                    <a:effectLst/>
                    <a:uLnTx/>
                    <a:uFillTx/>
                    <a:latin typeface="Trebuchet MS"/>
                    <a:ea typeface="+mn-ea"/>
                    <a:cs typeface="+mn-cs"/>
                  </a:rPr>
                  <a:t>Karlılık</a:t>
                </a:r>
              </a:p>
            </p:txBody>
          </p:sp>
          <p:sp>
            <p:nvSpPr>
              <p:cNvPr id="55" name="Çember Ok 43">
                <a:extLst>
                  <a:ext uri="{FF2B5EF4-FFF2-40B4-BE49-F238E27FC236}">
                    <a16:creationId xmlns:a16="http://schemas.microsoft.com/office/drawing/2014/main" id="{3F6690CC-E9C6-433B-A7D6-47B0C90465B6}"/>
                  </a:ext>
                </a:extLst>
              </p:cNvPr>
              <p:cNvSpPr/>
              <p:nvPr/>
            </p:nvSpPr>
            <p:spPr>
              <a:xfrm>
                <a:off x="7103431" y="1488796"/>
                <a:ext cx="4599804" cy="4599804"/>
              </a:xfrm>
              <a:prstGeom prst="circularArrow">
                <a:avLst>
                  <a:gd name="adj1" fmla="val 3990"/>
                  <a:gd name="adj2" fmla="val 250290"/>
                  <a:gd name="adj3" fmla="val 6111114"/>
                  <a:gd name="adj4" fmla="val 4438596"/>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56" name="Serbest Form 44">
                <a:extLst>
                  <a:ext uri="{FF2B5EF4-FFF2-40B4-BE49-F238E27FC236}">
                    <a16:creationId xmlns:a16="http://schemas.microsoft.com/office/drawing/2014/main" id="{14C69131-2150-4004-8A3A-C4DACA16122E}"/>
                  </a:ext>
                </a:extLst>
              </p:cNvPr>
              <p:cNvSpPr/>
              <p:nvPr/>
            </p:nvSpPr>
            <p:spPr>
              <a:xfrm rot="1871485">
                <a:off x="7881812" y="5137016"/>
                <a:ext cx="942174" cy="942174"/>
              </a:xfrm>
              <a:custGeom>
                <a:avLst/>
                <a:gdLst>
                  <a:gd name="connsiteX0" fmla="*/ 0 w 942174"/>
                  <a:gd name="connsiteY0" fmla="*/ 0 h 942174"/>
                  <a:gd name="connsiteX1" fmla="*/ 942174 w 942174"/>
                  <a:gd name="connsiteY1" fmla="*/ 0 h 942174"/>
                  <a:gd name="connsiteX2" fmla="*/ 942174 w 942174"/>
                  <a:gd name="connsiteY2" fmla="*/ 942174 h 942174"/>
                  <a:gd name="connsiteX3" fmla="*/ 0 w 942174"/>
                  <a:gd name="connsiteY3" fmla="*/ 942174 h 942174"/>
                  <a:gd name="connsiteX4" fmla="*/ 0 w 942174"/>
                  <a:gd name="connsiteY4" fmla="*/ 0 h 94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174" h="942174">
                    <a:moveTo>
                      <a:pt x="0" y="0"/>
                    </a:moveTo>
                    <a:lnTo>
                      <a:pt x="942174" y="0"/>
                    </a:lnTo>
                    <a:lnTo>
                      <a:pt x="942174" y="942174"/>
                    </a:lnTo>
                    <a:lnTo>
                      <a:pt x="0" y="942174"/>
                    </a:lnTo>
                    <a:lnTo>
                      <a:pt x="0" y="0"/>
                    </a:lnTo>
                    <a:close/>
                  </a:path>
                </a:pathLst>
              </a:custGeom>
              <a:noFill/>
              <a:ln>
                <a:noFill/>
              </a:ln>
              <a:effectLst/>
            </p:spPr>
            <p:txBody>
              <a:bodyPr spcFirstLastPara="0" vert="horz" wrap="square" lIns="12700" tIns="12700" rIns="12700" bIns="127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tr-TR" sz="1000" b="1" i="0" u="none" strike="noStrike" kern="0" cap="none" spc="0" normalizeH="0" baseline="0" noProof="0">
                    <a:ln>
                      <a:noFill/>
                    </a:ln>
                    <a:solidFill>
                      <a:sysClr val="windowText" lastClr="000000">
                        <a:hueOff val="0"/>
                        <a:satOff val="0"/>
                        <a:lumOff val="0"/>
                        <a:alphaOff val="0"/>
                      </a:sysClr>
                    </a:solidFill>
                    <a:effectLst/>
                    <a:uLnTx/>
                    <a:uFillTx/>
                    <a:latin typeface="Trebuchet MS"/>
                    <a:ea typeface="+mn-ea"/>
                    <a:cs typeface="+mn-cs"/>
                  </a:rPr>
                  <a:t>Opresayonel Mükemmellik</a:t>
                </a:r>
              </a:p>
            </p:txBody>
          </p:sp>
          <p:sp>
            <p:nvSpPr>
              <p:cNvPr id="57" name="Çember Ok 45">
                <a:extLst>
                  <a:ext uri="{FF2B5EF4-FFF2-40B4-BE49-F238E27FC236}">
                    <a16:creationId xmlns:a16="http://schemas.microsoft.com/office/drawing/2014/main" id="{4651DAAA-6FB9-48AD-AAC3-7B3C8FA084E6}"/>
                  </a:ext>
                </a:extLst>
              </p:cNvPr>
              <p:cNvSpPr/>
              <p:nvPr/>
            </p:nvSpPr>
            <p:spPr>
              <a:xfrm>
                <a:off x="7103431" y="1488796"/>
                <a:ext cx="4599804" cy="4599804"/>
              </a:xfrm>
              <a:prstGeom prst="circularArrow">
                <a:avLst>
                  <a:gd name="adj1" fmla="val 3990"/>
                  <a:gd name="adj2" fmla="val 250290"/>
                  <a:gd name="adj3" fmla="val 9773170"/>
                  <a:gd name="adj4" fmla="val 8182995"/>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58" name="Serbest Form 46">
                <a:extLst>
                  <a:ext uri="{FF2B5EF4-FFF2-40B4-BE49-F238E27FC236}">
                    <a16:creationId xmlns:a16="http://schemas.microsoft.com/office/drawing/2014/main" id="{5861077C-5617-4D16-B37A-841FC75AE971}"/>
                  </a:ext>
                </a:extLst>
              </p:cNvPr>
              <p:cNvSpPr/>
              <p:nvPr/>
            </p:nvSpPr>
            <p:spPr>
              <a:xfrm rot="16200000">
                <a:off x="6724197" y="3370201"/>
                <a:ext cx="1047355" cy="942174"/>
              </a:xfrm>
              <a:custGeom>
                <a:avLst/>
                <a:gdLst>
                  <a:gd name="connsiteX0" fmla="*/ 0 w 942174"/>
                  <a:gd name="connsiteY0" fmla="*/ 0 h 942174"/>
                  <a:gd name="connsiteX1" fmla="*/ 942174 w 942174"/>
                  <a:gd name="connsiteY1" fmla="*/ 0 h 942174"/>
                  <a:gd name="connsiteX2" fmla="*/ 942174 w 942174"/>
                  <a:gd name="connsiteY2" fmla="*/ 942174 h 942174"/>
                  <a:gd name="connsiteX3" fmla="*/ 0 w 942174"/>
                  <a:gd name="connsiteY3" fmla="*/ 942174 h 942174"/>
                  <a:gd name="connsiteX4" fmla="*/ 0 w 942174"/>
                  <a:gd name="connsiteY4" fmla="*/ 0 h 94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174" h="942174">
                    <a:moveTo>
                      <a:pt x="0" y="0"/>
                    </a:moveTo>
                    <a:lnTo>
                      <a:pt x="942174" y="0"/>
                    </a:lnTo>
                    <a:lnTo>
                      <a:pt x="942174" y="942174"/>
                    </a:lnTo>
                    <a:lnTo>
                      <a:pt x="0" y="942174"/>
                    </a:lnTo>
                    <a:lnTo>
                      <a:pt x="0" y="0"/>
                    </a:lnTo>
                    <a:close/>
                  </a:path>
                </a:pathLst>
              </a:custGeom>
              <a:noFill/>
              <a:ln>
                <a:noFill/>
              </a:ln>
              <a:effectLst/>
            </p:spPr>
            <p:txBody>
              <a:bodyPr spcFirstLastPara="0" vert="horz" wrap="square" lIns="12700" tIns="12700" rIns="12700" bIns="127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tr-TR" sz="1000" b="1" i="0" u="none" strike="noStrike" kern="0" cap="none" spc="0" normalizeH="0" baseline="0" noProof="0" dirty="0">
                    <a:ln>
                      <a:noFill/>
                    </a:ln>
                    <a:solidFill>
                      <a:sysClr val="windowText" lastClr="000000">
                        <a:hueOff val="0"/>
                        <a:satOff val="0"/>
                        <a:lumOff val="0"/>
                        <a:alphaOff val="0"/>
                      </a:sysClr>
                    </a:solidFill>
                    <a:effectLst/>
                    <a:uLnTx/>
                    <a:uFillTx/>
                    <a:latin typeface="Trebuchet MS"/>
                    <a:ea typeface="+mn-ea"/>
                    <a:cs typeface="+mn-cs"/>
                  </a:rPr>
                  <a:t>Sürdürülebilirlik</a:t>
                </a:r>
              </a:p>
            </p:txBody>
          </p:sp>
          <p:sp>
            <p:nvSpPr>
              <p:cNvPr id="59" name="Çember Ok 47">
                <a:extLst>
                  <a:ext uri="{FF2B5EF4-FFF2-40B4-BE49-F238E27FC236}">
                    <a16:creationId xmlns:a16="http://schemas.microsoft.com/office/drawing/2014/main" id="{6E5150E8-02E2-415D-959D-741B7F585D90}"/>
                  </a:ext>
                </a:extLst>
              </p:cNvPr>
              <p:cNvSpPr/>
              <p:nvPr/>
            </p:nvSpPr>
            <p:spPr>
              <a:xfrm>
                <a:off x="7103431" y="1488796"/>
                <a:ext cx="4599804" cy="4599804"/>
              </a:xfrm>
              <a:prstGeom prst="circularArrow">
                <a:avLst>
                  <a:gd name="adj1" fmla="val 3990"/>
                  <a:gd name="adj2" fmla="val 250290"/>
                  <a:gd name="adj3" fmla="val 13166715"/>
                  <a:gd name="adj4" fmla="val 11576540"/>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60" name="Serbest Form 48">
                <a:extLst>
                  <a:ext uri="{FF2B5EF4-FFF2-40B4-BE49-F238E27FC236}">
                    <a16:creationId xmlns:a16="http://schemas.microsoft.com/office/drawing/2014/main" id="{F7365A08-B43B-429D-A498-90A9E4155A1A}"/>
                  </a:ext>
                </a:extLst>
              </p:cNvPr>
              <p:cNvSpPr/>
              <p:nvPr/>
            </p:nvSpPr>
            <p:spPr>
              <a:xfrm rot="19669881">
                <a:off x="7881812" y="1498206"/>
                <a:ext cx="942174" cy="942174"/>
              </a:xfrm>
              <a:custGeom>
                <a:avLst/>
                <a:gdLst>
                  <a:gd name="connsiteX0" fmla="*/ 0 w 942174"/>
                  <a:gd name="connsiteY0" fmla="*/ 0 h 942174"/>
                  <a:gd name="connsiteX1" fmla="*/ 942174 w 942174"/>
                  <a:gd name="connsiteY1" fmla="*/ 0 h 942174"/>
                  <a:gd name="connsiteX2" fmla="*/ 942174 w 942174"/>
                  <a:gd name="connsiteY2" fmla="*/ 942174 h 942174"/>
                  <a:gd name="connsiteX3" fmla="*/ 0 w 942174"/>
                  <a:gd name="connsiteY3" fmla="*/ 942174 h 942174"/>
                  <a:gd name="connsiteX4" fmla="*/ 0 w 942174"/>
                  <a:gd name="connsiteY4" fmla="*/ 0 h 942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174" h="942174">
                    <a:moveTo>
                      <a:pt x="0" y="0"/>
                    </a:moveTo>
                    <a:lnTo>
                      <a:pt x="942174" y="0"/>
                    </a:lnTo>
                    <a:lnTo>
                      <a:pt x="942174" y="942174"/>
                    </a:lnTo>
                    <a:lnTo>
                      <a:pt x="0" y="942174"/>
                    </a:lnTo>
                    <a:lnTo>
                      <a:pt x="0" y="0"/>
                    </a:lnTo>
                    <a:close/>
                  </a:path>
                </a:pathLst>
              </a:custGeom>
              <a:noFill/>
              <a:ln>
                <a:noFill/>
              </a:ln>
              <a:effectLst/>
            </p:spPr>
            <p:txBody>
              <a:bodyPr spcFirstLastPara="0" vert="horz" wrap="square" lIns="12700" tIns="12700" rIns="12700" bIns="12700" numCol="1" spcCol="1270" anchor="ctr" anchorCtr="0">
                <a:noAutofit/>
              </a:bodyPr>
              <a:lstStyle/>
              <a:p>
                <a:pPr marL="0" marR="0" lvl="0" indent="0" algn="ctr" defTabSz="444500" eaLnBrk="1" fontAlgn="auto" latinLnBrk="0" hangingPunct="1">
                  <a:lnSpc>
                    <a:spcPct val="90000"/>
                  </a:lnSpc>
                  <a:spcBef>
                    <a:spcPct val="0"/>
                  </a:spcBef>
                  <a:spcAft>
                    <a:spcPct val="35000"/>
                  </a:spcAft>
                  <a:buClrTx/>
                  <a:buSzTx/>
                  <a:buFontTx/>
                  <a:buNone/>
                  <a:tabLst/>
                  <a:defRPr/>
                </a:pPr>
                <a:r>
                  <a:rPr kumimoji="0" lang="tr-TR" sz="1000" b="1" i="0" u="none" strike="noStrike" kern="0" cap="none" spc="0" normalizeH="0" baseline="0" noProof="0">
                    <a:ln>
                      <a:noFill/>
                    </a:ln>
                    <a:solidFill>
                      <a:sysClr val="windowText" lastClr="000000">
                        <a:hueOff val="0"/>
                        <a:satOff val="0"/>
                        <a:lumOff val="0"/>
                        <a:alphaOff val="0"/>
                      </a:sysClr>
                    </a:solidFill>
                    <a:effectLst/>
                    <a:uLnTx/>
                    <a:uFillTx/>
                    <a:latin typeface="Trebuchet MS"/>
                    <a:ea typeface="+mn-ea"/>
                    <a:cs typeface="+mn-cs"/>
                  </a:rPr>
                  <a:t>Gelecek İnşa Etmek</a:t>
                </a:r>
              </a:p>
            </p:txBody>
          </p:sp>
          <p:sp>
            <p:nvSpPr>
              <p:cNvPr id="61" name="Çember Ok 49">
                <a:extLst>
                  <a:ext uri="{FF2B5EF4-FFF2-40B4-BE49-F238E27FC236}">
                    <a16:creationId xmlns:a16="http://schemas.microsoft.com/office/drawing/2014/main" id="{61485F3D-61E9-489C-8511-8593E3300890}"/>
                  </a:ext>
                </a:extLst>
              </p:cNvPr>
              <p:cNvSpPr/>
              <p:nvPr/>
            </p:nvSpPr>
            <p:spPr>
              <a:xfrm>
                <a:off x="7103431" y="1488796"/>
                <a:ext cx="4599804" cy="4599804"/>
              </a:xfrm>
              <a:prstGeom prst="circularArrow">
                <a:avLst>
                  <a:gd name="adj1" fmla="val 3990"/>
                  <a:gd name="adj2" fmla="val 250290"/>
                  <a:gd name="adj3" fmla="val 16911114"/>
                  <a:gd name="adj4" fmla="val 15238596"/>
                  <a:gd name="adj5" fmla="val 4655"/>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grpSp>
      </p:grpSp>
      <p:sp>
        <p:nvSpPr>
          <p:cNvPr id="69" name="Başlık 14">
            <a:extLst>
              <a:ext uri="{FF2B5EF4-FFF2-40B4-BE49-F238E27FC236}">
                <a16:creationId xmlns:a16="http://schemas.microsoft.com/office/drawing/2014/main" id="{C0BFE773-2407-47C6-AEF0-61B120D1DE67}"/>
              </a:ext>
            </a:extLst>
          </p:cNvPr>
          <p:cNvSpPr txBox="1">
            <a:spLocks/>
          </p:cNvSpPr>
          <p:nvPr/>
        </p:nvSpPr>
        <p:spPr>
          <a:xfrm>
            <a:off x="2128919" y="584286"/>
            <a:ext cx="9860169" cy="6516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3800" dirty="0">
                <a:solidFill>
                  <a:srgbClr val="004A85"/>
                </a:solidFill>
                <a:latin typeface="+mn-lt"/>
              </a:rPr>
              <a:t>Varlık  Yönetimi Hedefleri</a:t>
            </a:r>
          </a:p>
        </p:txBody>
      </p:sp>
    </p:spTree>
    <p:extLst>
      <p:ext uri="{BB962C8B-B14F-4D97-AF65-F5344CB8AC3E}">
        <p14:creationId xmlns:p14="http://schemas.microsoft.com/office/powerpoint/2010/main" val="3782179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97CA3044-F1BD-2E1B-A4FB-4A358C9C598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68410"/>
            <a:ext cx="1853366" cy="2619632"/>
          </a:xfrm>
          <a:prstGeom prst="rect">
            <a:avLst/>
          </a:prstGeom>
        </p:spPr>
      </p:pic>
      <p:pic>
        <p:nvPicPr>
          <p:cNvPr id="6" name="Resim 5">
            <a:extLst>
              <a:ext uri="{FF2B5EF4-FFF2-40B4-BE49-F238E27FC236}">
                <a16:creationId xmlns:a16="http://schemas.microsoft.com/office/drawing/2014/main" id="{2356991F-D170-E8BE-BA86-D39B4273BBEF}"/>
              </a:ext>
            </a:extLst>
          </p:cNvPr>
          <p:cNvPicPr>
            <a:picLocks noChangeAspect="1"/>
          </p:cNvPicPr>
          <p:nvPr/>
        </p:nvPicPr>
        <p:blipFill>
          <a:blip r:embed="rId4"/>
          <a:stretch>
            <a:fillRect/>
          </a:stretch>
        </p:blipFill>
        <p:spPr>
          <a:xfrm>
            <a:off x="10862275" y="197159"/>
            <a:ext cx="1056187" cy="309127"/>
          </a:xfrm>
          <a:prstGeom prst="rect">
            <a:avLst/>
          </a:prstGeom>
        </p:spPr>
      </p:pic>
      <p:pic>
        <p:nvPicPr>
          <p:cNvPr id="7" name="Resim 6">
            <a:extLst>
              <a:ext uri="{FF2B5EF4-FFF2-40B4-BE49-F238E27FC236}">
                <a16:creationId xmlns:a16="http://schemas.microsoft.com/office/drawing/2014/main" id="{E550A5A4-54C9-C9F8-2A98-3D937AF2914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773" t="-773" b="-1"/>
          <a:stretch/>
        </p:blipFill>
        <p:spPr>
          <a:xfrm>
            <a:off x="-93519" y="6710645"/>
            <a:ext cx="12192000" cy="147355"/>
          </a:xfrm>
          <a:prstGeom prst="rect">
            <a:avLst/>
          </a:prstGeom>
        </p:spPr>
      </p:pic>
      <p:pic>
        <p:nvPicPr>
          <p:cNvPr id="9" name="Grafik 7">
            <a:extLst>
              <a:ext uri="{FF2B5EF4-FFF2-40B4-BE49-F238E27FC236}">
                <a16:creationId xmlns:a16="http://schemas.microsoft.com/office/drawing/2014/main" id="{3ED37854-B45F-47E3-88EF-2E587F6E1C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27" y="6287609"/>
            <a:ext cx="1283363" cy="303016"/>
          </a:xfrm>
          <a:prstGeom prst="rect">
            <a:avLst/>
          </a:prstGeom>
        </p:spPr>
      </p:pic>
      <p:sp>
        <p:nvSpPr>
          <p:cNvPr id="8" name="Başlık 14">
            <a:extLst>
              <a:ext uri="{FF2B5EF4-FFF2-40B4-BE49-F238E27FC236}">
                <a16:creationId xmlns:a16="http://schemas.microsoft.com/office/drawing/2014/main" id="{DF2EB041-F3A2-43BD-86A2-E6D57252081D}"/>
              </a:ext>
            </a:extLst>
          </p:cNvPr>
          <p:cNvSpPr txBox="1">
            <a:spLocks/>
          </p:cNvSpPr>
          <p:nvPr/>
        </p:nvSpPr>
        <p:spPr>
          <a:xfrm>
            <a:off x="2128919" y="584286"/>
            <a:ext cx="9860169" cy="6516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3800" dirty="0">
                <a:solidFill>
                  <a:srgbClr val="004A85"/>
                </a:solidFill>
                <a:latin typeface="+mn-lt"/>
              </a:rPr>
              <a:t>Varlık Yönetimi Modeli</a:t>
            </a:r>
          </a:p>
        </p:txBody>
      </p:sp>
      <p:grpSp>
        <p:nvGrpSpPr>
          <p:cNvPr id="12" name="Group 158">
            <a:extLst>
              <a:ext uri="{FF2B5EF4-FFF2-40B4-BE49-F238E27FC236}">
                <a16:creationId xmlns:a16="http://schemas.microsoft.com/office/drawing/2014/main" id="{F88C2889-73E5-44D6-B9C4-4A76F05916CE}"/>
              </a:ext>
            </a:extLst>
          </p:cNvPr>
          <p:cNvGrpSpPr>
            <a:grpSpLocks/>
          </p:cNvGrpSpPr>
          <p:nvPr/>
        </p:nvGrpSpPr>
        <p:grpSpPr bwMode="auto">
          <a:xfrm>
            <a:off x="1112004" y="1233360"/>
            <a:ext cx="8804816" cy="5243979"/>
            <a:chOff x="240390" y="507618"/>
            <a:chExt cx="8697396" cy="6760395"/>
          </a:xfrm>
        </p:grpSpPr>
        <p:grpSp>
          <p:nvGrpSpPr>
            <p:cNvPr id="13" name="Group 142">
              <a:extLst>
                <a:ext uri="{FF2B5EF4-FFF2-40B4-BE49-F238E27FC236}">
                  <a16:creationId xmlns:a16="http://schemas.microsoft.com/office/drawing/2014/main" id="{D14047CA-8324-4E06-B1F5-8A35949B5243}"/>
                </a:ext>
              </a:extLst>
            </p:cNvPr>
            <p:cNvGrpSpPr>
              <a:grpSpLocks/>
            </p:cNvGrpSpPr>
            <p:nvPr/>
          </p:nvGrpSpPr>
          <p:grpSpPr bwMode="auto">
            <a:xfrm>
              <a:off x="2140384" y="3114279"/>
              <a:ext cx="4879360" cy="3217653"/>
              <a:chOff x="2140069" y="3114279"/>
              <a:chExt cx="4879359" cy="3217654"/>
            </a:xfrm>
          </p:grpSpPr>
          <p:grpSp>
            <p:nvGrpSpPr>
              <p:cNvPr id="53" name="Group 57">
                <a:extLst>
                  <a:ext uri="{FF2B5EF4-FFF2-40B4-BE49-F238E27FC236}">
                    <a16:creationId xmlns:a16="http://schemas.microsoft.com/office/drawing/2014/main" id="{55BA290E-6EDA-4032-9AF7-95E533054CEB}"/>
                  </a:ext>
                </a:extLst>
              </p:cNvPr>
              <p:cNvGrpSpPr>
                <a:grpSpLocks/>
              </p:cNvGrpSpPr>
              <p:nvPr/>
            </p:nvGrpSpPr>
            <p:grpSpPr bwMode="auto">
              <a:xfrm>
                <a:off x="3650280" y="3623704"/>
                <a:ext cx="1828800" cy="1828800"/>
                <a:chOff x="2844800" y="3808413"/>
                <a:chExt cx="1828800" cy="1828800"/>
              </a:xfrm>
            </p:grpSpPr>
            <p:sp>
              <p:nvSpPr>
                <p:cNvPr id="59" name="Oval 5">
                  <a:extLst>
                    <a:ext uri="{FF2B5EF4-FFF2-40B4-BE49-F238E27FC236}">
                      <a16:creationId xmlns:a16="http://schemas.microsoft.com/office/drawing/2014/main" id="{783B87BF-14C4-4E4C-84D2-90E558BB960C}"/>
                    </a:ext>
                  </a:extLst>
                </p:cNvPr>
                <p:cNvSpPr>
                  <a:spLocks noChangeArrowheads="1"/>
                </p:cNvSpPr>
                <p:nvPr/>
              </p:nvSpPr>
              <p:spPr bwMode="auto">
                <a:xfrm>
                  <a:off x="2844800" y="3808413"/>
                  <a:ext cx="1828800" cy="1828800"/>
                </a:xfrm>
                <a:prstGeom prst="ellipse">
                  <a:avLst/>
                </a:pr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defTabSz="685800" eaLnBrk="1" fontAlgn="auto" hangingPunct="1">
                    <a:lnSpc>
                      <a:spcPct val="100000"/>
                    </a:lnSpc>
                    <a:spcBef>
                      <a:spcPts val="0"/>
                    </a:spcBef>
                    <a:spcAft>
                      <a:spcPts val="0"/>
                    </a:spcAft>
                    <a:buClrTx/>
                    <a:buNone/>
                    <a:defRPr/>
                  </a:pPr>
                  <a:endParaRPr lang="en-US" altLang="en-US" sz="675" kern="0" dirty="0">
                    <a:solidFill>
                      <a:srgbClr val="000000"/>
                    </a:solidFill>
                    <a:latin typeface="Arial" panose="020B0604020202020204" pitchFamily="34" charset="0"/>
                    <a:cs typeface="Arial" panose="020B0604020202020204" pitchFamily="34" charset="0"/>
                  </a:endParaRPr>
                </a:p>
              </p:txBody>
            </p:sp>
            <p:grpSp>
              <p:nvGrpSpPr>
                <p:cNvPr id="60" name="Group 26">
                  <a:extLst>
                    <a:ext uri="{FF2B5EF4-FFF2-40B4-BE49-F238E27FC236}">
                      <a16:creationId xmlns:a16="http://schemas.microsoft.com/office/drawing/2014/main" id="{3D0D1A35-0E81-4EDD-8A4E-6FD74D880B99}"/>
                    </a:ext>
                  </a:extLst>
                </p:cNvPr>
                <p:cNvGrpSpPr>
                  <a:grpSpLocks/>
                </p:cNvGrpSpPr>
                <p:nvPr/>
              </p:nvGrpSpPr>
              <p:grpSpPr bwMode="auto">
                <a:xfrm rot="-5867731">
                  <a:off x="4383977" y="4126104"/>
                  <a:ext cx="178538" cy="112835"/>
                  <a:chOff x="3306" y="3963"/>
                  <a:chExt cx="141" cy="99"/>
                </a:xfrm>
              </p:grpSpPr>
              <p:sp>
                <p:nvSpPr>
                  <p:cNvPr id="70" name="Line 27">
                    <a:extLst>
                      <a:ext uri="{FF2B5EF4-FFF2-40B4-BE49-F238E27FC236}">
                        <a16:creationId xmlns:a16="http://schemas.microsoft.com/office/drawing/2014/main" id="{D66EF2FA-D3C6-4EEA-B89F-7EA9FD8A9BA5}"/>
                      </a:ext>
                    </a:extLst>
                  </p:cNvPr>
                  <p:cNvSpPr>
                    <a:spLocks noChangeShapeType="1"/>
                  </p:cNvSpPr>
                  <p:nvPr/>
                </p:nvSpPr>
                <p:spPr bwMode="auto">
                  <a:xfrm flipV="1">
                    <a:off x="3363" y="3963"/>
                    <a:ext cx="39" cy="75"/>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sp>
                <p:nvSpPr>
                  <p:cNvPr id="71" name="Line 28">
                    <a:extLst>
                      <a:ext uri="{FF2B5EF4-FFF2-40B4-BE49-F238E27FC236}">
                        <a16:creationId xmlns:a16="http://schemas.microsoft.com/office/drawing/2014/main" id="{70253CAF-9F2D-44EE-895F-2DCC42AFFDC9}"/>
                      </a:ext>
                    </a:extLst>
                  </p:cNvPr>
                  <p:cNvSpPr>
                    <a:spLocks noChangeShapeType="1"/>
                  </p:cNvSpPr>
                  <p:nvPr/>
                </p:nvSpPr>
                <p:spPr bwMode="auto">
                  <a:xfrm flipV="1">
                    <a:off x="3306" y="4041"/>
                    <a:ext cx="141" cy="21"/>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grpSp>
            <p:grpSp>
              <p:nvGrpSpPr>
                <p:cNvPr id="61" name="Group 26">
                  <a:extLst>
                    <a:ext uri="{FF2B5EF4-FFF2-40B4-BE49-F238E27FC236}">
                      <a16:creationId xmlns:a16="http://schemas.microsoft.com/office/drawing/2014/main" id="{004B43D7-434F-4C08-BBF4-340BC45572BD}"/>
                    </a:ext>
                  </a:extLst>
                </p:cNvPr>
                <p:cNvGrpSpPr>
                  <a:grpSpLocks/>
                </p:cNvGrpSpPr>
                <p:nvPr/>
              </p:nvGrpSpPr>
              <p:grpSpPr bwMode="auto">
                <a:xfrm rot="9432269">
                  <a:off x="2979394" y="4103772"/>
                  <a:ext cx="178538" cy="112835"/>
                  <a:chOff x="3306" y="3963"/>
                  <a:chExt cx="141" cy="99"/>
                </a:xfrm>
              </p:grpSpPr>
              <p:sp>
                <p:nvSpPr>
                  <p:cNvPr id="68" name="Line 27">
                    <a:extLst>
                      <a:ext uri="{FF2B5EF4-FFF2-40B4-BE49-F238E27FC236}">
                        <a16:creationId xmlns:a16="http://schemas.microsoft.com/office/drawing/2014/main" id="{AC51A928-9DBF-44BB-AE01-A84708B47866}"/>
                      </a:ext>
                    </a:extLst>
                  </p:cNvPr>
                  <p:cNvSpPr>
                    <a:spLocks noChangeShapeType="1"/>
                  </p:cNvSpPr>
                  <p:nvPr/>
                </p:nvSpPr>
                <p:spPr bwMode="auto">
                  <a:xfrm flipV="1">
                    <a:off x="3363" y="3963"/>
                    <a:ext cx="39" cy="75"/>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sp>
                <p:nvSpPr>
                  <p:cNvPr id="69" name="Line 28">
                    <a:extLst>
                      <a:ext uri="{FF2B5EF4-FFF2-40B4-BE49-F238E27FC236}">
                        <a16:creationId xmlns:a16="http://schemas.microsoft.com/office/drawing/2014/main" id="{085D2282-0488-4FAE-8D2C-DC6D1CCF339F}"/>
                      </a:ext>
                    </a:extLst>
                  </p:cNvPr>
                  <p:cNvSpPr>
                    <a:spLocks noChangeShapeType="1"/>
                  </p:cNvSpPr>
                  <p:nvPr/>
                </p:nvSpPr>
                <p:spPr bwMode="auto">
                  <a:xfrm flipV="1">
                    <a:off x="3306" y="4041"/>
                    <a:ext cx="141" cy="21"/>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grpSp>
            <p:grpSp>
              <p:nvGrpSpPr>
                <p:cNvPr id="62" name="Group 26">
                  <a:extLst>
                    <a:ext uri="{FF2B5EF4-FFF2-40B4-BE49-F238E27FC236}">
                      <a16:creationId xmlns:a16="http://schemas.microsoft.com/office/drawing/2014/main" id="{AE5D5274-39DF-4D5B-9EC0-4ABC6D3F5317}"/>
                    </a:ext>
                  </a:extLst>
                </p:cNvPr>
                <p:cNvGrpSpPr>
                  <a:grpSpLocks/>
                </p:cNvGrpSpPr>
                <p:nvPr/>
              </p:nvGrpSpPr>
              <p:grpSpPr bwMode="auto">
                <a:xfrm rot="5832269">
                  <a:off x="2840818" y="5021544"/>
                  <a:ext cx="178538" cy="112835"/>
                  <a:chOff x="3306" y="3963"/>
                  <a:chExt cx="141" cy="99"/>
                </a:xfrm>
              </p:grpSpPr>
              <p:sp>
                <p:nvSpPr>
                  <p:cNvPr id="66" name="Line 27">
                    <a:extLst>
                      <a:ext uri="{FF2B5EF4-FFF2-40B4-BE49-F238E27FC236}">
                        <a16:creationId xmlns:a16="http://schemas.microsoft.com/office/drawing/2014/main" id="{6628C7A1-E53D-4580-9F2F-365467ED91F0}"/>
                      </a:ext>
                    </a:extLst>
                  </p:cNvPr>
                  <p:cNvSpPr>
                    <a:spLocks noChangeShapeType="1"/>
                  </p:cNvSpPr>
                  <p:nvPr/>
                </p:nvSpPr>
                <p:spPr bwMode="auto">
                  <a:xfrm flipV="1">
                    <a:off x="3363" y="3963"/>
                    <a:ext cx="39" cy="75"/>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sp>
                <p:nvSpPr>
                  <p:cNvPr id="67" name="Line 28">
                    <a:extLst>
                      <a:ext uri="{FF2B5EF4-FFF2-40B4-BE49-F238E27FC236}">
                        <a16:creationId xmlns:a16="http://schemas.microsoft.com/office/drawing/2014/main" id="{68AB95E5-E632-4AA7-86E5-4BBCAAFD215E}"/>
                      </a:ext>
                    </a:extLst>
                  </p:cNvPr>
                  <p:cNvSpPr>
                    <a:spLocks noChangeShapeType="1"/>
                  </p:cNvSpPr>
                  <p:nvPr/>
                </p:nvSpPr>
                <p:spPr bwMode="auto">
                  <a:xfrm flipV="1">
                    <a:off x="3306" y="4041"/>
                    <a:ext cx="141" cy="21"/>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grpSp>
            <p:grpSp>
              <p:nvGrpSpPr>
                <p:cNvPr id="63" name="Group 26">
                  <a:extLst>
                    <a:ext uri="{FF2B5EF4-FFF2-40B4-BE49-F238E27FC236}">
                      <a16:creationId xmlns:a16="http://schemas.microsoft.com/office/drawing/2014/main" id="{F85363F1-39A4-4915-90E2-19A86E2FC7B8}"/>
                    </a:ext>
                  </a:extLst>
                </p:cNvPr>
                <p:cNvGrpSpPr>
                  <a:grpSpLocks/>
                </p:cNvGrpSpPr>
                <p:nvPr/>
              </p:nvGrpSpPr>
              <p:grpSpPr bwMode="auto">
                <a:xfrm rot="-2267731">
                  <a:off x="4434434" y="5141498"/>
                  <a:ext cx="178538" cy="112835"/>
                  <a:chOff x="3306" y="3963"/>
                  <a:chExt cx="141" cy="99"/>
                </a:xfrm>
              </p:grpSpPr>
              <p:sp>
                <p:nvSpPr>
                  <p:cNvPr id="64" name="Line 27">
                    <a:extLst>
                      <a:ext uri="{FF2B5EF4-FFF2-40B4-BE49-F238E27FC236}">
                        <a16:creationId xmlns:a16="http://schemas.microsoft.com/office/drawing/2014/main" id="{5B89D768-8F0D-4A4D-8566-B30EA16A80C6}"/>
                      </a:ext>
                    </a:extLst>
                  </p:cNvPr>
                  <p:cNvSpPr>
                    <a:spLocks noChangeShapeType="1"/>
                  </p:cNvSpPr>
                  <p:nvPr/>
                </p:nvSpPr>
                <p:spPr bwMode="auto">
                  <a:xfrm flipV="1">
                    <a:off x="3363" y="3963"/>
                    <a:ext cx="39" cy="75"/>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sp>
                <p:nvSpPr>
                  <p:cNvPr id="65" name="Line 28">
                    <a:extLst>
                      <a:ext uri="{FF2B5EF4-FFF2-40B4-BE49-F238E27FC236}">
                        <a16:creationId xmlns:a16="http://schemas.microsoft.com/office/drawing/2014/main" id="{AB59AADA-C1FB-43AE-B5C5-5865C467D19F}"/>
                      </a:ext>
                    </a:extLst>
                  </p:cNvPr>
                  <p:cNvSpPr>
                    <a:spLocks noChangeShapeType="1"/>
                  </p:cNvSpPr>
                  <p:nvPr/>
                </p:nvSpPr>
                <p:spPr bwMode="auto">
                  <a:xfrm flipV="1">
                    <a:off x="3306" y="4041"/>
                    <a:ext cx="141" cy="21"/>
                  </a:xfrm>
                  <a:prstGeom prst="line">
                    <a:avLst/>
                  </a:prstGeom>
                  <a:noFill/>
                  <a:ln w="381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pPr defTabSz="685800" fontAlgn="auto">
                      <a:spcBef>
                        <a:spcPts val="0"/>
                      </a:spcBef>
                      <a:spcAft>
                        <a:spcPts val="0"/>
                      </a:spcAft>
                      <a:defRPr/>
                    </a:pPr>
                    <a:endParaRPr lang="en-US" sz="1350" kern="0" dirty="0">
                      <a:solidFill>
                        <a:srgbClr val="000000"/>
                      </a:solidFill>
                      <a:latin typeface="Arial" panose="020B0604020202020204" pitchFamily="34" charset="0"/>
                      <a:cs typeface="Arial" panose="020B0604020202020204" pitchFamily="34" charset="0"/>
                    </a:endParaRPr>
                  </a:p>
                </p:txBody>
              </p:sp>
            </p:grpSp>
          </p:grpSp>
          <p:sp>
            <p:nvSpPr>
              <p:cNvPr id="54" name="Rectangle 6">
                <a:extLst>
                  <a:ext uri="{FF2B5EF4-FFF2-40B4-BE49-F238E27FC236}">
                    <a16:creationId xmlns:a16="http://schemas.microsoft.com/office/drawing/2014/main" id="{B10523EA-B779-4377-BCAD-434F60B2E72A}"/>
                  </a:ext>
                </a:extLst>
              </p:cNvPr>
              <p:cNvSpPr>
                <a:spLocks noChangeArrowheads="1"/>
              </p:cNvSpPr>
              <p:nvPr/>
            </p:nvSpPr>
            <p:spPr bwMode="auto">
              <a:xfrm>
                <a:off x="5523975" y="3956981"/>
                <a:ext cx="1495453" cy="1052645"/>
              </a:xfrm>
              <a:prstGeom prst="rect">
                <a:avLst/>
              </a:prstGeom>
              <a:solidFill>
                <a:srgbClr val="288DC3"/>
              </a:solidFill>
              <a:ln w="12700">
                <a:solidFill>
                  <a:srgbClr val="000000"/>
                </a:solidFill>
                <a:miter lim="800000"/>
                <a:headEnd/>
                <a:tailEnd/>
              </a:ln>
            </p:spPr>
            <p:txBody>
              <a:bodyPr wrap="square" lIns="51792" tIns="25897" rIns="51792" bIns="25897">
                <a:spAutoFit/>
              </a:bodyP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Bakım planını yürütün</a:t>
                </a:r>
              </a:p>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Arıza bakımı</a:t>
                </a:r>
              </a:p>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Veri kaydı</a:t>
                </a:r>
              </a:p>
              <a:p>
                <a:pPr lvl="0" algn="ctr" eaLnBrk="1" hangingPunct="1">
                  <a:lnSpc>
                    <a:spcPct val="100000"/>
                  </a:lnSpc>
                  <a:buClrTx/>
                  <a:buNone/>
                  <a:defRPr/>
                </a:pPr>
                <a:r>
                  <a:rPr lang="tr-TR" sz="800" dirty="0">
                    <a:solidFill>
                      <a:prstClr val="white"/>
                    </a:solidFill>
                    <a:latin typeface="Arial" panose="020B0604020202020204" pitchFamily="34" charset="0"/>
                    <a:cs typeface="Arial" panose="020B0604020202020204" pitchFamily="34" charset="0"/>
                  </a:rPr>
                  <a:t>(</a:t>
                </a:r>
                <a:r>
                  <a:rPr lang="en-US" sz="800" b="1" dirty="0">
                    <a:solidFill>
                      <a:schemeClr val="bg1"/>
                    </a:solidFill>
                    <a:latin typeface="Arial" panose="020B0604020202020204" pitchFamily="34" charset="0"/>
                    <a:cs typeface="Arial" panose="020B0604020202020204" pitchFamily="34" charset="0"/>
                  </a:rPr>
                  <a:t>Execute Maintenance plan</a:t>
                </a:r>
              </a:p>
              <a:p>
                <a:pPr lvl="0" algn="ctr" eaLnBrk="1" hangingPunct="1">
                  <a:lnSpc>
                    <a:spcPct val="100000"/>
                  </a:lnSpc>
                  <a:buClrTx/>
                  <a:buNone/>
                  <a:defRPr/>
                </a:pPr>
                <a:r>
                  <a:rPr lang="en-US" sz="800" b="1" dirty="0">
                    <a:solidFill>
                      <a:schemeClr val="bg1"/>
                    </a:solidFill>
                    <a:latin typeface="Arial" panose="020B0604020202020204" pitchFamily="34" charset="0"/>
                    <a:cs typeface="Arial" panose="020B0604020202020204" pitchFamily="34" charset="0"/>
                  </a:rPr>
                  <a:t>Breakdown Maintenance</a:t>
                </a:r>
              </a:p>
              <a:p>
                <a:pPr lvl="0" algn="ctr" eaLnBrk="1" hangingPunct="1">
                  <a:lnSpc>
                    <a:spcPct val="100000"/>
                  </a:lnSpc>
                  <a:buClrTx/>
                  <a:buNone/>
                  <a:defRPr/>
                </a:pPr>
                <a:r>
                  <a:rPr lang="en-US" sz="800" b="1" dirty="0">
                    <a:solidFill>
                      <a:schemeClr val="bg1"/>
                    </a:solidFill>
                    <a:latin typeface="Arial" panose="020B0604020202020204" pitchFamily="34" charset="0"/>
                    <a:cs typeface="Arial" panose="020B0604020202020204" pitchFamily="34" charset="0"/>
                  </a:rPr>
                  <a:t>Data Logging</a:t>
                </a:r>
                <a:r>
                  <a:rPr lang="en-US" sz="800" dirty="0">
                    <a:solidFill>
                      <a:prstClr val="white"/>
                    </a:solidFill>
                    <a:latin typeface="Arial" panose="020B0604020202020204" pitchFamily="34" charset="0"/>
                    <a:cs typeface="Arial" panose="020B0604020202020204" pitchFamily="34" charset="0"/>
                  </a:rPr>
                  <a:t>)</a:t>
                </a:r>
              </a:p>
            </p:txBody>
          </p:sp>
          <p:sp>
            <p:nvSpPr>
              <p:cNvPr id="55" name="Rectangle 7">
                <a:extLst>
                  <a:ext uri="{FF2B5EF4-FFF2-40B4-BE49-F238E27FC236}">
                    <a16:creationId xmlns:a16="http://schemas.microsoft.com/office/drawing/2014/main" id="{641344DE-D808-4FEC-A14B-7930E882A89D}"/>
                  </a:ext>
                </a:extLst>
              </p:cNvPr>
              <p:cNvSpPr>
                <a:spLocks noChangeArrowheads="1"/>
              </p:cNvSpPr>
              <p:nvPr/>
            </p:nvSpPr>
            <p:spPr bwMode="auto">
              <a:xfrm>
                <a:off x="3497022" y="5546969"/>
                <a:ext cx="2107015" cy="784964"/>
              </a:xfrm>
              <a:prstGeom prst="rect">
                <a:avLst/>
              </a:prstGeom>
              <a:solidFill>
                <a:srgbClr val="288DC3"/>
              </a:solidFill>
              <a:ln w="12700">
                <a:solidFill>
                  <a:srgbClr val="000000"/>
                </a:solidFill>
                <a:miter lim="800000"/>
                <a:headEnd/>
                <a:tailEnd/>
              </a:ln>
            </p:spPr>
            <p:txBody>
              <a:bodyPr wrap="square" lIns="51792" tIns="25897" rIns="51792" bIns="25897">
                <a:noAutofit/>
              </a:bodyP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Bakım Verimliliği</a:t>
                </a:r>
              </a:p>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Program Uyumluluğu</a:t>
                </a:r>
              </a:p>
              <a:p>
                <a:pPr lvl="0" algn="ctr" eaLnBrk="1" hangingPunct="1">
                  <a:lnSpc>
                    <a:spcPct val="100000"/>
                  </a:lnSpc>
                  <a:buClrTx/>
                  <a:buNone/>
                  <a:defRPr/>
                </a:pPr>
                <a:r>
                  <a:rPr lang="tr-TR" sz="800" dirty="0">
                    <a:solidFill>
                      <a:prstClr val="white"/>
                    </a:solidFill>
                    <a:latin typeface="Arial" panose="020B0604020202020204" pitchFamily="34" charset="0"/>
                    <a:cs typeface="Arial" panose="020B0604020202020204" pitchFamily="34" charset="0"/>
                  </a:rPr>
                  <a:t>(</a:t>
                </a:r>
                <a:r>
                  <a:rPr lang="en-US" sz="800" b="1" dirty="0">
                    <a:solidFill>
                      <a:schemeClr val="bg1"/>
                    </a:solidFill>
                    <a:latin typeface="Arial" panose="020B0604020202020204" pitchFamily="34" charset="0"/>
                    <a:cs typeface="Arial" panose="020B0604020202020204" pitchFamily="34" charset="0"/>
                  </a:rPr>
                  <a:t>Maintenance Efficiency</a:t>
                </a:r>
              </a:p>
              <a:p>
                <a:pPr lvl="0" algn="ctr" eaLnBrk="1" hangingPunct="1">
                  <a:lnSpc>
                    <a:spcPct val="100000"/>
                  </a:lnSpc>
                  <a:buClrTx/>
                  <a:buNone/>
                  <a:defRPr/>
                </a:pPr>
                <a:r>
                  <a:rPr lang="en-US" sz="800" b="1" dirty="0">
                    <a:solidFill>
                      <a:schemeClr val="bg1"/>
                    </a:solidFill>
                    <a:latin typeface="Arial" panose="020B0604020202020204" pitchFamily="34" charset="0"/>
                    <a:cs typeface="Arial" panose="020B0604020202020204" pitchFamily="34" charset="0"/>
                  </a:rPr>
                  <a:t>Schedule Compliance</a:t>
                </a:r>
                <a:r>
                  <a:rPr lang="tr-TR" sz="800" dirty="0">
                    <a:solidFill>
                      <a:prstClr val="white"/>
                    </a:solidFill>
                    <a:latin typeface="Arial" panose="020B0604020202020204" pitchFamily="34" charset="0"/>
                    <a:cs typeface="Arial" panose="020B0604020202020204" pitchFamily="34" charset="0"/>
                  </a:rPr>
                  <a:t>)</a:t>
                </a:r>
              </a:p>
            </p:txBody>
          </p:sp>
          <p:sp>
            <p:nvSpPr>
              <p:cNvPr id="56" name="Rectangle 8">
                <a:extLst>
                  <a:ext uri="{FF2B5EF4-FFF2-40B4-BE49-F238E27FC236}">
                    <a16:creationId xmlns:a16="http://schemas.microsoft.com/office/drawing/2014/main" id="{F3899976-F898-4FA1-A434-59AAE63C98F7}"/>
                  </a:ext>
                </a:extLst>
              </p:cNvPr>
              <p:cNvSpPr>
                <a:spLocks noChangeArrowheads="1"/>
              </p:cNvSpPr>
              <p:nvPr/>
            </p:nvSpPr>
            <p:spPr bwMode="auto">
              <a:xfrm>
                <a:off x="2140069" y="3910915"/>
                <a:ext cx="1420247" cy="1185832"/>
              </a:xfrm>
              <a:prstGeom prst="rect">
                <a:avLst/>
              </a:prstGeom>
              <a:solidFill>
                <a:srgbClr val="288DC3"/>
              </a:solidFill>
              <a:ln w="12700">
                <a:solidFill>
                  <a:srgbClr val="000000"/>
                </a:solidFill>
                <a:miter lim="800000"/>
                <a:headEnd/>
                <a:tailEnd/>
              </a:ln>
            </p:spPr>
            <p:txBody>
              <a:bodyPr wrap="square" lIns="51792" tIns="25897" rIns="51792" bIns="25897" anchor="ctr" anchorCtr="0">
                <a:noAutofit/>
              </a:bodyP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Plan Periyodunun Uyarlama</a:t>
                </a:r>
              </a:p>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Bakım Yöntemleri</a:t>
                </a:r>
              </a:p>
              <a:p>
                <a:pPr lvl="0" algn="ctr" eaLnBrk="1" hangingPunct="1">
                  <a:lnSpc>
                    <a:spcPct val="100000"/>
                  </a:lnSpc>
                  <a:buClrTx/>
                  <a:buNone/>
                  <a:defRPr/>
                </a:pPr>
                <a:r>
                  <a:rPr lang="en-US" sz="800" dirty="0">
                    <a:solidFill>
                      <a:prstClr val="white"/>
                    </a:solidFill>
                    <a:latin typeface="Arial" panose="020B0604020202020204" pitchFamily="34" charset="0"/>
                    <a:cs typeface="Arial" panose="020B0604020202020204" pitchFamily="34" charset="0"/>
                  </a:rPr>
                  <a:t>(</a:t>
                </a:r>
                <a:r>
                  <a:rPr lang="en-US" sz="800" b="1" dirty="0">
                    <a:solidFill>
                      <a:schemeClr val="bg1"/>
                    </a:solidFill>
                    <a:latin typeface="Arial" panose="020B0604020202020204" pitchFamily="34" charset="0"/>
                    <a:cs typeface="Arial" panose="020B0604020202020204" pitchFamily="34" charset="0"/>
                  </a:rPr>
                  <a:t>Adapt task Frequencies</a:t>
                </a:r>
              </a:p>
              <a:p>
                <a:pPr lvl="0" algn="ctr" eaLnBrk="1" hangingPunct="1">
                  <a:lnSpc>
                    <a:spcPct val="100000"/>
                  </a:lnSpc>
                  <a:buClrTx/>
                  <a:buNone/>
                  <a:defRPr/>
                </a:pPr>
                <a:r>
                  <a:rPr lang="en-US" sz="800" b="1" dirty="0">
                    <a:solidFill>
                      <a:schemeClr val="bg1"/>
                    </a:solidFill>
                    <a:latin typeface="Arial" panose="020B0604020202020204" pitchFamily="34" charset="0"/>
                    <a:cs typeface="Arial" panose="020B0604020202020204" pitchFamily="34" charset="0"/>
                  </a:rPr>
                  <a:t>maintenance Methods</a:t>
                </a:r>
                <a:endParaRPr lang="en-US" altLang="en-US" sz="700" kern="0" dirty="0">
                  <a:solidFill>
                    <a:schemeClr val="bg1"/>
                  </a:solidFill>
                  <a:latin typeface="Arial" panose="020B0604020202020204" pitchFamily="34" charset="0"/>
                  <a:cs typeface="Arial" panose="020B0604020202020204" pitchFamily="34" charset="0"/>
                </a:endParaRPr>
              </a:p>
            </p:txBody>
          </p:sp>
          <p:sp>
            <p:nvSpPr>
              <p:cNvPr id="57" name="Rectangle 32">
                <a:extLst>
                  <a:ext uri="{FF2B5EF4-FFF2-40B4-BE49-F238E27FC236}">
                    <a16:creationId xmlns:a16="http://schemas.microsoft.com/office/drawing/2014/main" id="{59C40337-04C6-4BBB-9235-F7C68E3FCD6C}"/>
                  </a:ext>
                </a:extLst>
              </p:cNvPr>
              <p:cNvSpPr>
                <a:spLocks noChangeArrowheads="1"/>
              </p:cNvSpPr>
              <p:nvPr/>
            </p:nvSpPr>
            <p:spPr bwMode="auto">
              <a:xfrm>
                <a:off x="3500918" y="3114279"/>
                <a:ext cx="2103120" cy="397283"/>
              </a:xfrm>
              <a:prstGeom prst="rect">
                <a:avLst/>
              </a:prstGeom>
              <a:solidFill>
                <a:srgbClr val="288DC3"/>
              </a:solidFill>
              <a:ln w="12700">
                <a:solidFill>
                  <a:srgbClr val="000000"/>
                </a:solidFill>
                <a:miter lim="800000"/>
                <a:headEnd/>
                <a:tailEnd/>
              </a:ln>
            </p:spPr>
            <p:txBody>
              <a:bodyPr lIns="51792" tIns="25897" rIns="51792" bIns="25897">
                <a:spAutoFit/>
              </a:bodyP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Bakım İş planı</a:t>
                </a:r>
              </a:p>
              <a:p>
                <a:pPr lvl="0" algn="ctr" eaLnBrk="1" hangingPunct="1">
                  <a:lnSpc>
                    <a:spcPct val="100000"/>
                  </a:lnSpc>
                  <a:buClrTx/>
                  <a:buNone/>
                  <a:defRPr/>
                </a:pPr>
                <a:r>
                  <a:rPr lang="tr-TR" sz="800" dirty="0">
                    <a:solidFill>
                      <a:prstClr val="white"/>
                    </a:solidFill>
                    <a:latin typeface="Arial" panose="020B0604020202020204" pitchFamily="34" charset="0"/>
                    <a:cs typeface="Arial" panose="020B0604020202020204" pitchFamily="34" charset="0"/>
                  </a:rPr>
                  <a:t>(</a:t>
                </a:r>
                <a:r>
                  <a:rPr lang="tr-TR" sz="800" b="1" dirty="0" err="1">
                    <a:solidFill>
                      <a:schemeClr val="bg1"/>
                    </a:solidFill>
                    <a:latin typeface="Arial" panose="020B0604020202020204" pitchFamily="34" charset="0"/>
                    <a:cs typeface="Arial" panose="020B0604020202020204" pitchFamily="34" charset="0"/>
                  </a:rPr>
                  <a:t>Maintenance</a:t>
                </a:r>
                <a:r>
                  <a:rPr lang="tr-TR" sz="800" b="1" dirty="0">
                    <a:solidFill>
                      <a:schemeClr val="bg1"/>
                    </a:solidFill>
                    <a:latin typeface="Arial" panose="020B0604020202020204" pitchFamily="34" charset="0"/>
                    <a:cs typeface="Arial" panose="020B0604020202020204" pitchFamily="34" charset="0"/>
                  </a:rPr>
                  <a:t> </a:t>
                </a:r>
                <a:r>
                  <a:rPr lang="tr-TR" sz="800" b="1" dirty="0" err="1">
                    <a:solidFill>
                      <a:schemeClr val="bg1"/>
                    </a:solidFill>
                    <a:latin typeface="Arial" panose="020B0604020202020204" pitchFamily="34" charset="0"/>
                    <a:cs typeface="Arial" panose="020B0604020202020204" pitchFamily="34" charset="0"/>
                  </a:rPr>
                  <a:t>tasks</a:t>
                </a:r>
                <a:r>
                  <a:rPr lang="tr-TR" sz="800" b="1" dirty="0">
                    <a:solidFill>
                      <a:schemeClr val="bg1"/>
                    </a:solidFill>
                    <a:latin typeface="Arial" panose="020B0604020202020204" pitchFamily="34" charset="0"/>
                    <a:cs typeface="Arial" panose="020B0604020202020204" pitchFamily="34" charset="0"/>
                  </a:rPr>
                  <a:t>/</a:t>
                </a:r>
                <a:r>
                  <a:rPr lang="tr-TR" sz="800" b="1" dirty="0" err="1">
                    <a:solidFill>
                      <a:schemeClr val="bg1"/>
                    </a:solidFill>
                    <a:latin typeface="Arial" panose="020B0604020202020204" pitchFamily="34" charset="0"/>
                    <a:cs typeface="Arial" panose="020B0604020202020204" pitchFamily="34" charset="0"/>
                  </a:rPr>
                  <a:t>plans</a:t>
                </a:r>
                <a:r>
                  <a:rPr lang="tr-TR" sz="800" dirty="0">
                    <a:solidFill>
                      <a:schemeClr val="bg1"/>
                    </a:solidFill>
                    <a:latin typeface="Arial" panose="020B0604020202020204" pitchFamily="34" charset="0"/>
                    <a:cs typeface="Arial" panose="020B0604020202020204" pitchFamily="34" charset="0"/>
                  </a:rPr>
                  <a:t>)</a:t>
                </a:r>
              </a:p>
            </p:txBody>
          </p:sp>
          <p:sp>
            <p:nvSpPr>
              <p:cNvPr id="58" name="Oval 34">
                <a:extLst>
                  <a:ext uri="{FF2B5EF4-FFF2-40B4-BE49-F238E27FC236}">
                    <a16:creationId xmlns:a16="http://schemas.microsoft.com/office/drawing/2014/main" id="{855EDCFA-95C4-442F-AD45-EE3D4281275D}"/>
                  </a:ext>
                </a:extLst>
              </p:cNvPr>
              <p:cNvSpPr>
                <a:spLocks noChangeArrowheads="1"/>
              </p:cNvSpPr>
              <p:nvPr/>
            </p:nvSpPr>
            <p:spPr bwMode="auto">
              <a:xfrm>
                <a:off x="4052790" y="4000795"/>
                <a:ext cx="969566" cy="914741"/>
              </a:xfrm>
              <a:prstGeom prst="ellipse">
                <a:avLst/>
              </a:prstGeom>
              <a:solidFill>
                <a:srgbClr val="FF6600"/>
              </a:solidFill>
              <a:ln w="9525">
                <a:solidFill>
                  <a:srgbClr val="000000"/>
                </a:solidFill>
                <a:round/>
                <a:headEnd/>
                <a:tailEnd/>
              </a:ln>
            </p:spPr>
            <p:txBody>
              <a:bodyPr wrap="none" anchor="ct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algn="ctr" defTabSz="685800" fontAlgn="auto">
                  <a:lnSpc>
                    <a:spcPct val="100000"/>
                  </a:lnSpc>
                  <a:spcBef>
                    <a:spcPts val="0"/>
                  </a:spcBef>
                  <a:spcAft>
                    <a:spcPts val="0"/>
                  </a:spcAft>
                  <a:buClrTx/>
                  <a:buNone/>
                  <a:defRPr/>
                </a:pPr>
                <a:r>
                  <a:rPr lang="tr-TR" altLang="en-US" sz="675" b="1" kern="0" dirty="0">
                    <a:solidFill>
                      <a:srgbClr val="000000"/>
                    </a:solidFill>
                    <a:latin typeface="Arial" panose="020B0604020202020204" pitchFamily="34" charset="0"/>
                    <a:cs typeface="Arial" panose="020B0604020202020204" pitchFamily="34" charset="0"/>
                  </a:rPr>
                  <a:t>Varlık</a:t>
                </a:r>
              </a:p>
              <a:p>
                <a:pPr algn="ctr" defTabSz="685800" fontAlgn="auto">
                  <a:lnSpc>
                    <a:spcPct val="100000"/>
                  </a:lnSpc>
                  <a:spcBef>
                    <a:spcPts val="0"/>
                  </a:spcBef>
                  <a:spcAft>
                    <a:spcPts val="0"/>
                  </a:spcAft>
                  <a:buClrTx/>
                  <a:buNone/>
                  <a:defRPr/>
                </a:pPr>
                <a:r>
                  <a:rPr lang="tr-TR" altLang="en-US" sz="675" b="1" kern="0" dirty="0">
                    <a:solidFill>
                      <a:schemeClr val="bg1"/>
                    </a:solidFill>
                    <a:latin typeface="Arial" panose="020B0604020202020204" pitchFamily="34" charset="0"/>
                    <a:cs typeface="Arial" panose="020B0604020202020204" pitchFamily="34" charset="0"/>
                  </a:rPr>
                  <a:t>(</a:t>
                </a:r>
                <a:r>
                  <a:rPr lang="en-US" altLang="en-US" sz="675" b="1" kern="0" dirty="0">
                    <a:solidFill>
                      <a:schemeClr val="bg1"/>
                    </a:solidFill>
                    <a:latin typeface="Arial" panose="020B0604020202020204" pitchFamily="34" charset="0"/>
                    <a:cs typeface="Arial" panose="020B0604020202020204" pitchFamily="34" charset="0"/>
                  </a:rPr>
                  <a:t>Asset</a:t>
                </a:r>
                <a:r>
                  <a:rPr lang="tr-TR" altLang="en-US" sz="675" b="1" kern="0" dirty="0">
                    <a:solidFill>
                      <a:schemeClr val="bg1"/>
                    </a:solidFill>
                    <a:latin typeface="Arial" panose="020B0604020202020204" pitchFamily="34" charset="0"/>
                    <a:cs typeface="Arial" panose="020B0604020202020204" pitchFamily="34" charset="0"/>
                  </a:rPr>
                  <a:t>)</a:t>
                </a:r>
                <a:endParaRPr lang="en-US" altLang="en-US" sz="675" b="1" kern="0" dirty="0">
                  <a:solidFill>
                    <a:schemeClr val="bg1"/>
                  </a:solidFill>
                  <a:latin typeface="Arial" panose="020B0604020202020204" pitchFamily="34" charset="0"/>
                  <a:cs typeface="Arial" panose="020B0604020202020204" pitchFamily="34" charset="0"/>
                </a:endParaRPr>
              </a:p>
            </p:txBody>
          </p:sp>
        </p:grpSp>
        <p:grpSp>
          <p:nvGrpSpPr>
            <p:cNvPr id="14" name="Group 155">
              <a:extLst>
                <a:ext uri="{FF2B5EF4-FFF2-40B4-BE49-F238E27FC236}">
                  <a16:creationId xmlns:a16="http://schemas.microsoft.com/office/drawing/2014/main" id="{75CEE559-6DB3-4795-8BF0-BC7D3FD40924}"/>
                </a:ext>
              </a:extLst>
            </p:cNvPr>
            <p:cNvGrpSpPr>
              <a:grpSpLocks/>
            </p:cNvGrpSpPr>
            <p:nvPr/>
          </p:nvGrpSpPr>
          <p:grpSpPr bwMode="auto">
            <a:xfrm>
              <a:off x="3138375" y="6331933"/>
              <a:ext cx="2741815" cy="936080"/>
              <a:chOff x="3138375" y="6331933"/>
              <a:chExt cx="2741815" cy="936080"/>
            </a:xfrm>
          </p:grpSpPr>
          <p:cxnSp>
            <p:nvCxnSpPr>
              <p:cNvPr id="51" name="AutoShape 42">
                <a:extLst>
                  <a:ext uri="{FF2B5EF4-FFF2-40B4-BE49-F238E27FC236}">
                    <a16:creationId xmlns:a16="http://schemas.microsoft.com/office/drawing/2014/main" id="{42B2BF97-7970-4FA8-A939-CE7B1A1B5F76}"/>
                  </a:ext>
                </a:extLst>
              </p:cNvPr>
              <p:cNvCxnSpPr>
                <a:cxnSpLocks noChangeShapeType="1"/>
                <a:stCxn id="55" idx="2"/>
                <a:endCxn id="55" idx="2"/>
              </p:cNvCxnSpPr>
              <p:nvPr/>
            </p:nvCxnSpPr>
            <p:spPr bwMode="auto">
              <a:xfrm rot="5400000">
                <a:off x="4548931" y="6333846"/>
                <a:ext cx="16372" cy="12545"/>
              </a:xfrm>
              <a:prstGeom prst="bentConnector3">
                <a:avLst>
                  <a:gd name="adj1" fmla="val 1800000"/>
                </a:avLst>
              </a:prstGeom>
              <a:noFill/>
              <a:ln w="9525">
                <a:solidFill>
                  <a:srgbClr val="000000"/>
                </a:solidFill>
                <a:miter lim="800000"/>
                <a:headEnd/>
                <a:tailEnd type="triangle" w="med" len="med"/>
              </a:ln>
              <a:extLst>
                <a:ext uri="{909E8E84-426E-40DD-AFC4-6F175D3DCCD1}">
                  <a14:hiddenFill xmlns:a14="http://schemas.microsoft.com/office/drawing/2010/main">
                    <a:noFill/>
                  </a14:hiddenFill>
                </a:ext>
              </a:extLst>
            </p:spPr>
          </p:cxnSp>
          <p:sp>
            <p:nvSpPr>
              <p:cNvPr id="52" name="TextBox 101">
                <a:extLst>
                  <a:ext uri="{FF2B5EF4-FFF2-40B4-BE49-F238E27FC236}">
                    <a16:creationId xmlns:a16="http://schemas.microsoft.com/office/drawing/2014/main" id="{256E348C-D491-4642-8F44-AC610C741145}"/>
                  </a:ext>
                </a:extLst>
              </p:cNvPr>
              <p:cNvSpPr txBox="1">
                <a:spLocks noChangeArrowheads="1"/>
              </p:cNvSpPr>
              <p:nvPr/>
            </p:nvSpPr>
            <p:spPr bwMode="auto">
              <a:xfrm>
                <a:off x="3138375" y="6653612"/>
                <a:ext cx="2741815" cy="614401"/>
              </a:xfrm>
              <a:prstGeom prst="rect">
                <a:avLst/>
              </a:prstGeom>
              <a:gradFill>
                <a:gsLst>
                  <a:gs pos="0">
                    <a:srgbClr val="0D4577">
                      <a:tint val="66000"/>
                      <a:satMod val="160000"/>
                    </a:srgbClr>
                  </a:gs>
                  <a:gs pos="50000">
                    <a:srgbClr val="0D4577">
                      <a:tint val="44500"/>
                      <a:satMod val="160000"/>
                    </a:srgbClr>
                  </a:gs>
                  <a:gs pos="100000">
                    <a:srgbClr val="0D4577">
                      <a:tint val="23500"/>
                      <a:satMod val="160000"/>
                    </a:srgbClr>
                  </a:gs>
                </a:gsLst>
                <a:lin ang="5400000" scaled="0"/>
              </a:gradFill>
              <a:ln w="12700">
                <a:solidFill>
                  <a:srgbClr val="000000"/>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0" algn="ctr" eaLnBrk="1" hangingPunct="1">
                  <a:defRPr/>
                </a:pPr>
                <a:r>
                  <a:rPr lang="tr-TR" sz="800" dirty="0"/>
                  <a:t>RCA-</a:t>
                </a:r>
                <a:r>
                  <a:rPr lang="tr-TR" sz="800" dirty="0" err="1"/>
                  <a:t>Proact</a:t>
                </a:r>
                <a:r>
                  <a:rPr lang="tr-TR" sz="800" dirty="0"/>
                  <a:t> Metot</a:t>
                </a:r>
              </a:p>
              <a:p>
                <a:pPr lvl="0" algn="ctr" eaLnBrk="1" hangingPunct="1">
                  <a:defRPr/>
                </a:pPr>
                <a:r>
                  <a:rPr lang="tr-TR" sz="800" dirty="0"/>
                  <a:t>RCA-5 Neden Metot</a:t>
                </a:r>
              </a:p>
              <a:p>
                <a:pPr lvl="0" algn="ctr" eaLnBrk="1" hangingPunct="1">
                  <a:defRPr/>
                </a:pPr>
                <a:r>
                  <a:rPr lang="tr-TR" sz="800" dirty="0">
                    <a:solidFill>
                      <a:srgbClr val="FF0000"/>
                    </a:solidFill>
                  </a:rPr>
                  <a:t>(</a:t>
                </a:r>
                <a:r>
                  <a:rPr lang="tr-TR" sz="800" b="1" dirty="0" err="1">
                    <a:solidFill>
                      <a:srgbClr val="FF0000"/>
                    </a:solidFill>
                  </a:rPr>
                  <a:t>Root</a:t>
                </a:r>
                <a:r>
                  <a:rPr lang="tr-TR" sz="800" b="1" dirty="0">
                    <a:solidFill>
                      <a:srgbClr val="FF0000"/>
                    </a:solidFill>
                  </a:rPr>
                  <a:t> </a:t>
                </a:r>
                <a:r>
                  <a:rPr lang="tr-TR" sz="800" b="1" dirty="0" err="1">
                    <a:solidFill>
                      <a:srgbClr val="FF0000"/>
                    </a:solidFill>
                  </a:rPr>
                  <a:t>Cause</a:t>
                </a:r>
                <a:r>
                  <a:rPr lang="en-US" sz="800" b="1" dirty="0">
                    <a:solidFill>
                      <a:srgbClr val="FF0000"/>
                    </a:solidFill>
                  </a:rPr>
                  <a:t> Analysis</a:t>
                </a:r>
                <a:r>
                  <a:rPr lang="tr-TR" sz="800" dirty="0">
                    <a:solidFill>
                      <a:srgbClr val="FF0000"/>
                    </a:solidFill>
                  </a:rPr>
                  <a:t>)</a:t>
                </a:r>
              </a:p>
            </p:txBody>
          </p:sp>
        </p:grpSp>
        <p:grpSp>
          <p:nvGrpSpPr>
            <p:cNvPr id="15" name="Group 157">
              <a:extLst>
                <a:ext uri="{FF2B5EF4-FFF2-40B4-BE49-F238E27FC236}">
                  <a16:creationId xmlns:a16="http://schemas.microsoft.com/office/drawing/2014/main" id="{7EE65223-E722-4470-BE79-BB18AE57C62B}"/>
                </a:ext>
              </a:extLst>
            </p:cNvPr>
            <p:cNvGrpSpPr>
              <a:grpSpLocks/>
            </p:cNvGrpSpPr>
            <p:nvPr/>
          </p:nvGrpSpPr>
          <p:grpSpPr bwMode="auto">
            <a:xfrm>
              <a:off x="5596744" y="545954"/>
              <a:ext cx="3341042" cy="5393497"/>
              <a:chOff x="5596743" y="545954"/>
              <a:chExt cx="3341042" cy="5393497"/>
            </a:xfrm>
          </p:grpSpPr>
          <p:cxnSp>
            <p:nvCxnSpPr>
              <p:cNvPr id="42" name="AutoShape 45">
                <a:extLst>
                  <a:ext uri="{FF2B5EF4-FFF2-40B4-BE49-F238E27FC236}">
                    <a16:creationId xmlns:a16="http://schemas.microsoft.com/office/drawing/2014/main" id="{D61B2B04-0873-4CE0-9565-04BE43DE8FE8}"/>
                  </a:ext>
                </a:extLst>
              </p:cNvPr>
              <p:cNvCxnSpPr>
                <a:cxnSpLocks noChangeShapeType="1"/>
                <a:stCxn id="50" idx="2"/>
              </p:cNvCxnSpPr>
              <p:nvPr/>
            </p:nvCxnSpPr>
            <p:spPr bwMode="auto">
              <a:xfrm>
                <a:off x="7155077" y="996514"/>
                <a:ext cx="1" cy="10476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43" name="Gebogen verbindingslijn 18">
                <a:extLst>
                  <a:ext uri="{FF2B5EF4-FFF2-40B4-BE49-F238E27FC236}">
                    <a16:creationId xmlns:a16="http://schemas.microsoft.com/office/drawing/2014/main" id="{337C50AA-09CD-49AF-A11E-63B0E5A537F1}"/>
                  </a:ext>
                </a:extLst>
              </p:cNvPr>
              <p:cNvCxnSpPr>
                <a:cxnSpLocks noChangeShapeType="1"/>
              </p:cNvCxnSpPr>
              <p:nvPr/>
            </p:nvCxnSpPr>
            <p:spPr bwMode="auto">
              <a:xfrm>
                <a:off x="5596743" y="2647098"/>
                <a:ext cx="2617988" cy="1616644"/>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44" name="Gebogen verbindingslijn 18">
                <a:extLst>
                  <a:ext uri="{FF2B5EF4-FFF2-40B4-BE49-F238E27FC236}">
                    <a16:creationId xmlns:a16="http://schemas.microsoft.com/office/drawing/2014/main" id="{BBB32C72-3FC7-4E91-A66F-095A81CFAC1D}"/>
                  </a:ext>
                </a:extLst>
              </p:cNvPr>
              <p:cNvCxnSpPr>
                <a:cxnSpLocks noChangeShapeType="1"/>
                <a:stCxn id="49" idx="2"/>
                <a:endCxn id="55" idx="3"/>
              </p:cNvCxnSpPr>
              <p:nvPr/>
            </p:nvCxnSpPr>
            <p:spPr bwMode="auto">
              <a:xfrm rot="5400000">
                <a:off x="6401038" y="4179842"/>
                <a:ext cx="962922" cy="2556296"/>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45" name="AutoShape 46">
                <a:extLst>
                  <a:ext uri="{FF2B5EF4-FFF2-40B4-BE49-F238E27FC236}">
                    <a16:creationId xmlns:a16="http://schemas.microsoft.com/office/drawing/2014/main" id="{07532195-1FFC-4975-BAD2-64402DF9B72B}"/>
                  </a:ext>
                </a:extLst>
              </p:cNvPr>
              <p:cNvCxnSpPr>
                <a:cxnSpLocks noChangeShapeType="1"/>
                <a:stCxn id="49" idx="1"/>
                <a:endCxn id="54" idx="3"/>
              </p:cNvCxnSpPr>
              <p:nvPr/>
            </p:nvCxnSpPr>
            <p:spPr bwMode="auto">
              <a:xfrm flipH="1">
                <a:off x="7019743" y="4458165"/>
                <a:ext cx="363765" cy="2513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46" name="AutoShape 42">
                <a:extLst>
                  <a:ext uri="{FF2B5EF4-FFF2-40B4-BE49-F238E27FC236}">
                    <a16:creationId xmlns:a16="http://schemas.microsoft.com/office/drawing/2014/main" id="{8FE6DFA6-1E52-4387-84BE-944DA4FB955E}"/>
                  </a:ext>
                </a:extLst>
              </p:cNvPr>
              <p:cNvCxnSpPr>
                <a:cxnSpLocks noChangeShapeType="1"/>
                <a:endCxn id="57" idx="3"/>
              </p:cNvCxnSpPr>
              <p:nvPr/>
            </p:nvCxnSpPr>
            <p:spPr bwMode="auto">
              <a:xfrm rot="5400000">
                <a:off x="5351128" y="1508969"/>
                <a:ext cx="2057176" cy="1550728"/>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47" name="AutoShape 42">
                <a:extLst>
                  <a:ext uri="{FF2B5EF4-FFF2-40B4-BE49-F238E27FC236}">
                    <a16:creationId xmlns:a16="http://schemas.microsoft.com/office/drawing/2014/main" id="{F6524630-7DFA-4274-B763-324977EF1595}"/>
                  </a:ext>
                </a:extLst>
              </p:cNvPr>
              <p:cNvCxnSpPr>
                <a:cxnSpLocks noChangeShapeType="1"/>
                <a:stCxn id="28" idx="3"/>
              </p:cNvCxnSpPr>
              <p:nvPr/>
            </p:nvCxnSpPr>
            <p:spPr bwMode="auto">
              <a:xfrm>
                <a:off x="5608933" y="732898"/>
                <a:ext cx="494584" cy="521578"/>
              </a:xfrm>
              <a:prstGeom prst="bentConnector3">
                <a:avLst>
                  <a:gd name="adj1" fmla="val 50000"/>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sp>
            <p:nvSpPr>
              <p:cNvPr id="48" name="TextBox 78">
                <a:extLst>
                  <a:ext uri="{FF2B5EF4-FFF2-40B4-BE49-F238E27FC236}">
                    <a16:creationId xmlns:a16="http://schemas.microsoft.com/office/drawing/2014/main" id="{6F5ECEDC-4FDA-47A5-8E1D-5CBC7B64307C}"/>
                  </a:ext>
                </a:extLst>
              </p:cNvPr>
              <p:cNvSpPr txBox="1">
                <a:spLocks noChangeArrowheads="1"/>
              </p:cNvSpPr>
              <p:nvPr/>
            </p:nvSpPr>
            <p:spPr bwMode="auto">
              <a:xfrm>
                <a:off x="6104095" y="1101351"/>
                <a:ext cx="2102006" cy="450560"/>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a:extLst/>
            </p:spPr>
            <p:txBody>
              <a:bodyPr>
                <a:sp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lvl="0">
                  <a:defRPr/>
                </a:pPr>
                <a:r>
                  <a:rPr lang="tr-TR" sz="800" dirty="0">
                    <a:latin typeface="Arial" panose="020B0604020202020204" pitchFamily="34" charset="0"/>
                    <a:cs typeface="Arial" panose="020B0604020202020204" pitchFamily="34" charset="0"/>
                  </a:rPr>
                  <a:t>Uyum Analizi</a:t>
                </a:r>
              </a:p>
              <a:p>
                <a:pPr lvl="0">
                  <a:defRPr/>
                </a:pPr>
                <a:r>
                  <a:rPr lang="tr-TR" sz="800" dirty="0">
                    <a:solidFill>
                      <a:prstClr val="white"/>
                    </a:solidFill>
                    <a:latin typeface="Arial" panose="020B0604020202020204" pitchFamily="34" charset="0"/>
                    <a:cs typeface="Arial" panose="020B0604020202020204" pitchFamily="34" charset="0"/>
                  </a:rPr>
                  <a:t>(</a:t>
                </a:r>
                <a:r>
                  <a:rPr lang="tr-TR" sz="800" b="1" dirty="0" err="1">
                    <a:solidFill>
                      <a:srgbClr val="FF0000"/>
                    </a:solidFill>
                    <a:latin typeface="Arial" panose="020B0604020202020204" pitchFamily="34" charset="0"/>
                    <a:cs typeface="Arial" panose="020B0604020202020204" pitchFamily="34" charset="0"/>
                  </a:rPr>
                  <a:t>Compliance</a:t>
                </a:r>
                <a:r>
                  <a:rPr lang="tr-TR" sz="800" b="1" dirty="0">
                    <a:solidFill>
                      <a:srgbClr val="FF0000"/>
                    </a:solidFill>
                    <a:latin typeface="Arial" panose="020B0604020202020204" pitchFamily="34" charset="0"/>
                    <a:cs typeface="Arial" panose="020B0604020202020204" pitchFamily="34" charset="0"/>
                  </a:rPr>
                  <a:t> Analysis</a:t>
                </a:r>
                <a:r>
                  <a:rPr lang="tr-TR" sz="800" dirty="0">
                    <a:solidFill>
                      <a:prstClr val="white"/>
                    </a:solidFill>
                    <a:latin typeface="Arial" panose="020B0604020202020204" pitchFamily="34" charset="0"/>
                    <a:cs typeface="Arial" panose="020B0604020202020204" pitchFamily="34" charset="0"/>
                  </a:rPr>
                  <a:t>)</a:t>
                </a:r>
              </a:p>
            </p:txBody>
          </p:sp>
          <p:sp>
            <p:nvSpPr>
              <p:cNvPr id="49" name="TextBox 98">
                <a:extLst>
                  <a:ext uri="{FF2B5EF4-FFF2-40B4-BE49-F238E27FC236}">
                    <a16:creationId xmlns:a16="http://schemas.microsoft.com/office/drawing/2014/main" id="{E48A116F-8676-478D-8712-6574A92B07F5}"/>
                  </a:ext>
                </a:extLst>
              </p:cNvPr>
              <p:cNvSpPr txBox="1">
                <a:spLocks noChangeArrowheads="1"/>
              </p:cNvSpPr>
              <p:nvPr/>
            </p:nvSpPr>
            <p:spPr bwMode="auto">
              <a:xfrm>
                <a:off x="7383508" y="3939801"/>
                <a:ext cx="1554277" cy="1036728"/>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a:extLst/>
            </p:spPr>
            <p:txBody>
              <a:bodyPr anchor="ctr" anchorCtr="0">
                <a:no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lvl="0">
                  <a:defRPr/>
                </a:pPr>
                <a:r>
                  <a:rPr lang="tr-TR" sz="800" dirty="0">
                    <a:latin typeface="Arial" panose="020B0604020202020204" pitchFamily="34" charset="0"/>
                    <a:cs typeface="Arial" panose="020B0604020202020204" pitchFamily="34" charset="0"/>
                  </a:rPr>
                  <a:t>Eğitim programı</a:t>
                </a:r>
              </a:p>
              <a:p>
                <a:pPr lvl="0">
                  <a:defRPr/>
                </a:pPr>
                <a:r>
                  <a:rPr lang="tr-TR" sz="800" dirty="0">
                    <a:latin typeface="Arial" panose="020B0604020202020204" pitchFamily="34" charset="0"/>
                    <a:cs typeface="Arial" panose="020B0604020202020204" pitchFamily="34" charset="0"/>
                  </a:rPr>
                  <a:t>Varlık Bilgisi</a:t>
                </a:r>
              </a:p>
              <a:p>
                <a:pPr lvl="0">
                  <a:defRPr/>
                </a:pPr>
                <a:r>
                  <a:rPr lang="tr-TR" sz="800" dirty="0">
                    <a:solidFill>
                      <a:srgbClr val="FF0000"/>
                    </a:solidFill>
                    <a:latin typeface="Arial" panose="020B0604020202020204" pitchFamily="34" charset="0"/>
                    <a:cs typeface="Arial" panose="020B0604020202020204" pitchFamily="34" charset="0"/>
                  </a:rPr>
                  <a:t>(</a:t>
                </a:r>
                <a:r>
                  <a:rPr lang="en-US" sz="800" b="1" dirty="0">
                    <a:solidFill>
                      <a:srgbClr val="FF0000"/>
                    </a:solidFill>
                    <a:latin typeface="Arial" panose="020B0604020202020204" pitchFamily="34" charset="0"/>
                    <a:cs typeface="Arial" panose="020B0604020202020204" pitchFamily="34" charset="0"/>
                  </a:rPr>
                  <a:t>Training Program</a:t>
                </a:r>
              </a:p>
              <a:p>
                <a:pPr lvl="0">
                  <a:defRPr/>
                </a:pPr>
                <a:r>
                  <a:rPr lang="en-US" sz="800" b="1" dirty="0">
                    <a:solidFill>
                      <a:srgbClr val="FF0000"/>
                    </a:solidFill>
                    <a:latin typeface="Arial" panose="020B0604020202020204" pitchFamily="34" charset="0"/>
                    <a:cs typeface="Arial" panose="020B0604020202020204" pitchFamily="34" charset="0"/>
                  </a:rPr>
                  <a:t>Asset Knowledge</a:t>
                </a:r>
                <a:r>
                  <a:rPr lang="tr-TR" sz="800" dirty="0">
                    <a:solidFill>
                      <a:srgbClr val="FF0000"/>
                    </a:solidFill>
                    <a:latin typeface="Arial" panose="020B0604020202020204" pitchFamily="34" charset="0"/>
                    <a:cs typeface="Arial" panose="020B0604020202020204" pitchFamily="34" charset="0"/>
                  </a:rPr>
                  <a:t>)</a:t>
                </a:r>
                <a:endParaRPr lang="en-US" sz="800" dirty="0">
                  <a:solidFill>
                    <a:srgbClr val="FF0000"/>
                  </a:solidFill>
                  <a:latin typeface="Arial" panose="020B0604020202020204" pitchFamily="34" charset="0"/>
                  <a:cs typeface="Arial" panose="020B0604020202020204" pitchFamily="34" charset="0"/>
                </a:endParaRPr>
              </a:p>
              <a:p>
                <a:pPr lvl="0">
                  <a:defRPr/>
                </a:pPr>
                <a:endParaRPr lang="tr-TR" sz="800" dirty="0">
                  <a:solidFill>
                    <a:prstClr val="white"/>
                  </a:solidFill>
                  <a:latin typeface="Arial" panose="020B0604020202020204" pitchFamily="34" charset="0"/>
                  <a:cs typeface="Arial" panose="020B0604020202020204" pitchFamily="34" charset="0"/>
                </a:endParaRPr>
              </a:p>
            </p:txBody>
          </p:sp>
          <p:sp>
            <p:nvSpPr>
              <p:cNvPr id="50" name="TextBox 7">
                <a:extLst>
                  <a:ext uri="{FF2B5EF4-FFF2-40B4-BE49-F238E27FC236}">
                    <a16:creationId xmlns:a16="http://schemas.microsoft.com/office/drawing/2014/main" id="{AC48F376-4198-4D6B-A8DD-5A39FAA6146A}"/>
                  </a:ext>
                </a:extLst>
              </p:cNvPr>
              <p:cNvSpPr txBox="1">
                <a:spLocks noChangeArrowheads="1"/>
              </p:cNvSpPr>
              <p:nvPr/>
            </p:nvSpPr>
            <p:spPr bwMode="auto">
              <a:xfrm>
                <a:off x="6103517" y="545954"/>
                <a:ext cx="2103120" cy="45056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Yasalar ve Yönetmelikler</a:t>
                </a:r>
              </a:p>
              <a:p>
                <a:pPr lvl="0" algn="ctr" eaLnBrk="1" hangingPunct="1">
                  <a:lnSpc>
                    <a:spcPct val="100000"/>
                  </a:lnSpc>
                  <a:buClrTx/>
                  <a:buNone/>
                  <a:defRPr/>
                </a:pPr>
                <a:r>
                  <a:rPr lang="tr-TR" sz="800" dirty="0">
                    <a:solidFill>
                      <a:prstClr val="white"/>
                    </a:solidFill>
                    <a:latin typeface="Arial" panose="020B0604020202020204" pitchFamily="34" charset="0"/>
                    <a:cs typeface="Arial" panose="020B0604020202020204" pitchFamily="34" charset="0"/>
                  </a:rPr>
                  <a:t>(</a:t>
                </a:r>
                <a:r>
                  <a:rPr lang="tr-TR" sz="800" b="1" dirty="0">
                    <a:solidFill>
                      <a:srgbClr val="FF0000"/>
                    </a:solidFill>
                    <a:latin typeface="Arial" panose="020B0604020202020204" pitchFamily="34" charset="0"/>
                    <a:cs typeface="Arial" panose="020B0604020202020204" pitchFamily="34" charset="0"/>
                  </a:rPr>
                  <a:t>Rules &amp; </a:t>
                </a:r>
                <a:r>
                  <a:rPr lang="tr-TR" sz="800" b="1" dirty="0" err="1">
                    <a:solidFill>
                      <a:srgbClr val="FF0000"/>
                    </a:solidFill>
                    <a:latin typeface="Arial" panose="020B0604020202020204" pitchFamily="34" charset="0"/>
                    <a:cs typeface="Arial" panose="020B0604020202020204" pitchFamily="34" charset="0"/>
                  </a:rPr>
                  <a:t>Regulations</a:t>
                </a:r>
                <a:r>
                  <a:rPr lang="tr-TR" sz="800" dirty="0">
                    <a:solidFill>
                      <a:prstClr val="white"/>
                    </a:solidFill>
                    <a:latin typeface="Arial" panose="020B0604020202020204" pitchFamily="34" charset="0"/>
                    <a:cs typeface="Arial" panose="020B0604020202020204" pitchFamily="34" charset="0"/>
                  </a:rPr>
                  <a:t>)</a:t>
                </a:r>
              </a:p>
            </p:txBody>
          </p:sp>
        </p:grpSp>
        <p:grpSp>
          <p:nvGrpSpPr>
            <p:cNvPr id="16" name="Group 148">
              <a:extLst>
                <a:ext uri="{FF2B5EF4-FFF2-40B4-BE49-F238E27FC236}">
                  <a16:creationId xmlns:a16="http://schemas.microsoft.com/office/drawing/2014/main" id="{17497802-C6D1-443A-A670-8CCADFDF3A1A}"/>
                </a:ext>
              </a:extLst>
            </p:cNvPr>
            <p:cNvGrpSpPr>
              <a:grpSpLocks/>
            </p:cNvGrpSpPr>
            <p:nvPr/>
          </p:nvGrpSpPr>
          <p:grpSpPr bwMode="auto">
            <a:xfrm>
              <a:off x="240390" y="732899"/>
              <a:ext cx="3266363" cy="6227915"/>
              <a:chOff x="240390" y="732899"/>
              <a:chExt cx="3266363" cy="6227916"/>
            </a:xfrm>
          </p:grpSpPr>
          <p:cxnSp>
            <p:nvCxnSpPr>
              <p:cNvPr id="35" name="AutoShape 42">
                <a:extLst>
                  <a:ext uri="{FF2B5EF4-FFF2-40B4-BE49-F238E27FC236}">
                    <a16:creationId xmlns:a16="http://schemas.microsoft.com/office/drawing/2014/main" id="{11E5E856-C059-4587-ABD8-6B8F5D9B839D}"/>
                  </a:ext>
                </a:extLst>
              </p:cNvPr>
              <p:cNvCxnSpPr>
                <a:cxnSpLocks noChangeShapeType="1"/>
                <a:stCxn id="52" idx="1"/>
                <a:endCxn id="34" idx="2"/>
              </p:cNvCxnSpPr>
              <p:nvPr/>
            </p:nvCxnSpPr>
            <p:spPr bwMode="auto">
              <a:xfrm rot="10800000">
                <a:off x="1017530" y="4752383"/>
                <a:ext cx="2120847" cy="2208431"/>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36" name="AutoShape 42">
                <a:extLst>
                  <a:ext uri="{FF2B5EF4-FFF2-40B4-BE49-F238E27FC236}">
                    <a16:creationId xmlns:a16="http://schemas.microsoft.com/office/drawing/2014/main" id="{4B8FDA30-529D-4165-8AAE-A6BC16740F75}"/>
                  </a:ext>
                </a:extLst>
              </p:cNvPr>
              <p:cNvCxnSpPr>
                <a:cxnSpLocks noChangeShapeType="1"/>
                <a:stCxn id="34" idx="0"/>
                <a:endCxn id="32" idx="1"/>
              </p:cNvCxnSpPr>
              <p:nvPr/>
            </p:nvCxnSpPr>
            <p:spPr bwMode="auto">
              <a:xfrm rot="5400000" flipH="1" flipV="1">
                <a:off x="1435183" y="2232456"/>
                <a:ext cx="1651713" cy="2487021"/>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37" name="AutoShape 42">
                <a:extLst>
                  <a:ext uri="{FF2B5EF4-FFF2-40B4-BE49-F238E27FC236}">
                    <a16:creationId xmlns:a16="http://schemas.microsoft.com/office/drawing/2014/main" id="{E275E438-F29E-489E-A4A4-BDF8C8560D17}"/>
                  </a:ext>
                </a:extLst>
              </p:cNvPr>
              <p:cNvCxnSpPr>
                <a:cxnSpLocks noChangeShapeType="1"/>
                <a:stCxn id="38" idx="0"/>
                <a:endCxn id="28" idx="1"/>
              </p:cNvCxnSpPr>
              <p:nvPr/>
            </p:nvCxnSpPr>
            <p:spPr bwMode="auto">
              <a:xfrm rot="5400000" flipH="1" flipV="1">
                <a:off x="2253592" y="-171512"/>
                <a:ext cx="347814" cy="2156635"/>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sp>
            <p:nvSpPr>
              <p:cNvPr id="38" name="TextBox 54">
                <a:extLst>
                  <a:ext uri="{FF2B5EF4-FFF2-40B4-BE49-F238E27FC236}">
                    <a16:creationId xmlns:a16="http://schemas.microsoft.com/office/drawing/2014/main" id="{4CF7EADA-C9DD-41F0-81E5-320C658AEDAC}"/>
                  </a:ext>
                </a:extLst>
              </p:cNvPr>
              <p:cNvSpPr txBox="1">
                <a:spLocks noChangeArrowheads="1"/>
              </p:cNvSpPr>
              <p:nvPr/>
            </p:nvSpPr>
            <p:spPr bwMode="auto">
              <a:xfrm>
                <a:off x="434713" y="1080712"/>
                <a:ext cx="1828937" cy="471199"/>
              </a:xfrm>
              <a:prstGeom prst="rect">
                <a:avLst/>
              </a:prstGeom>
              <a:gradFill>
                <a:gsLst>
                  <a:gs pos="0">
                    <a:srgbClr val="0D4577">
                      <a:tint val="66000"/>
                      <a:satMod val="160000"/>
                    </a:srgbClr>
                  </a:gs>
                  <a:gs pos="50000">
                    <a:srgbClr val="0D4577">
                      <a:tint val="44500"/>
                      <a:satMod val="160000"/>
                    </a:srgbClr>
                  </a:gs>
                  <a:gs pos="100000">
                    <a:srgbClr val="0D4577">
                      <a:tint val="23500"/>
                      <a:satMod val="160000"/>
                    </a:srgbClr>
                  </a:gs>
                </a:gsLst>
                <a:lin ang="5400000" scaled="0"/>
              </a:gradFill>
              <a:ln w="12700">
                <a:solidFill>
                  <a:srgbClr val="000000"/>
                </a:solidFill>
                <a:miter lim="800000"/>
                <a:headEnd/>
                <a:tailEnd/>
              </a:ln>
            </p:spPr>
            <p:txBody>
              <a:bodyPr>
                <a:no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lvl="0">
                  <a:defRPr/>
                </a:pPr>
                <a:r>
                  <a:rPr lang="tr-TR" sz="800" dirty="0">
                    <a:latin typeface="Arial" panose="020B0604020202020204" pitchFamily="34" charset="0"/>
                    <a:cs typeface="Arial" panose="020B0604020202020204" pitchFamily="34" charset="0"/>
                  </a:rPr>
                  <a:t>Değişim Yönetimi</a:t>
                </a:r>
              </a:p>
              <a:p>
                <a:pPr lvl="0">
                  <a:defRPr/>
                </a:pPr>
                <a:r>
                  <a:rPr lang="tr-TR" sz="800" dirty="0">
                    <a:solidFill>
                      <a:srgbClr val="FF0000"/>
                    </a:solidFill>
                    <a:latin typeface="Arial" panose="020B0604020202020204" pitchFamily="34" charset="0"/>
                    <a:cs typeface="Arial" panose="020B0604020202020204" pitchFamily="34" charset="0"/>
                  </a:rPr>
                  <a:t>(</a:t>
                </a:r>
                <a:r>
                  <a:rPr lang="tr-TR" sz="800" b="1" dirty="0" err="1">
                    <a:solidFill>
                      <a:srgbClr val="FF0000"/>
                    </a:solidFill>
                    <a:latin typeface="Arial" panose="020B0604020202020204" pitchFamily="34" charset="0"/>
                    <a:cs typeface="Arial" panose="020B0604020202020204" pitchFamily="34" charset="0"/>
                  </a:rPr>
                  <a:t>Modifications</a:t>
                </a:r>
                <a:r>
                  <a:rPr lang="tr-TR" sz="800" b="1" dirty="0">
                    <a:solidFill>
                      <a:srgbClr val="FF0000"/>
                    </a:solidFill>
                    <a:latin typeface="Arial" panose="020B0604020202020204" pitchFamily="34" charset="0"/>
                    <a:cs typeface="Arial" panose="020B0604020202020204" pitchFamily="34" charset="0"/>
                  </a:rPr>
                  <a:t> </a:t>
                </a:r>
                <a:r>
                  <a:rPr lang="tr-TR" sz="800" b="1" dirty="0" err="1">
                    <a:solidFill>
                      <a:srgbClr val="FF0000"/>
                    </a:solidFill>
                    <a:latin typeface="Arial" panose="020B0604020202020204" pitchFamily="34" charset="0"/>
                    <a:cs typeface="Arial" panose="020B0604020202020204" pitchFamily="34" charset="0"/>
                  </a:rPr>
                  <a:t>Replacement</a:t>
                </a:r>
                <a:r>
                  <a:rPr lang="tr-TR" sz="800" dirty="0">
                    <a:solidFill>
                      <a:srgbClr val="FF0000"/>
                    </a:solidFill>
                    <a:latin typeface="Arial" panose="020B0604020202020204" pitchFamily="34" charset="0"/>
                    <a:cs typeface="Arial" panose="020B0604020202020204" pitchFamily="34" charset="0"/>
                  </a:rPr>
                  <a:t>)</a:t>
                </a:r>
              </a:p>
            </p:txBody>
          </p:sp>
          <p:cxnSp>
            <p:nvCxnSpPr>
              <p:cNvPr id="39" name="AutoShape 42">
                <a:extLst>
                  <a:ext uri="{FF2B5EF4-FFF2-40B4-BE49-F238E27FC236}">
                    <a16:creationId xmlns:a16="http://schemas.microsoft.com/office/drawing/2014/main" id="{AE27CBFE-D468-4F08-98BB-41FF8983BA5A}"/>
                  </a:ext>
                </a:extLst>
              </p:cNvPr>
              <p:cNvCxnSpPr>
                <a:cxnSpLocks noChangeShapeType="1"/>
                <a:stCxn id="52" idx="1"/>
              </p:cNvCxnSpPr>
              <p:nvPr/>
            </p:nvCxnSpPr>
            <p:spPr bwMode="auto">
              <a:xfrm rot="10800000">
                <a:off x="385138" y="1235042"/>
                <a:ext cx="2753238" cy="5725773"/>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40" name="AutoShape 42">
                <a:extLst>
                  <a:ext uri="{FF2B5EF4-FFF2-40B4-BE49-F238E27FC236}">
                    <a16:creationId xmlns:a16="http://schemas.microsoft.com/office/drawing/2014/main" id="{E5CC9476-63D6-476A-9413-B53C7908DCFC}"/>
                  </a:ext>
                </a:extLst>
              </p:cNvPr>
              <p:cNvCxnSpPr>
                <a:cxnSpLocks noChangeShapeType="1"/>
                <a:stCxn id="38" idx="3"/>
                <a:endCxn id="29" idx="1"/>
              </p:cNvCxnSpPr>
              <p:nvPr/>
            </p:nvCxnSpPr>
            <p:spPr bwMode="auto">
              <a:xfrm flipV="1">
                <a:off x="2263650" y="1305993"/>
                <a:ext cx="1243103" cy="10319"/>
              </a:xfrm>
              <a:prstGeom prst="bentConnector3">
                <a:avLst>
                  <a:gd name="adj1" fmla="val 50000"/>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cxnSp>
            <p:nvCxnSpPr>
              <p:cNvPr id="41" name="AutoShape 46">
                <a:extLst>
                  <a:ext uri="{FF2B5EF4-FFF2-40B4-BE49-F238E27FC236}">
                    <a16:creationId xmlns:a16="http://schemas.microsoft.com/office/drawing/2014/main" id="{B25862F9-753C-43E2-804F-A463F1D6220F}"/>
                  </a:ext>
                </a:extLst>
              </p:cNvPr>
              <p:cNvCxnSpPr>
                <a:cxnSpLocks noChangeShapeType="1"/>
                <a:stCxn id="34" idx="3"/>
                <a:endCxn id="56" idx="1"/>
              </p:cNvCxnSpPr>
              <p:nvPr/>
            </p:nvCxnSpPr>
            <p:spPr bwMode="auto">
              <a:xfrm flipV="1">
                <a:off x="1794668" y="4503831"/>
                <a:ext cx="345716" cy="2327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34" name="Rectangle 8">
                <a:extLst>
                  <a:ext uri="{FF2B5EF4-FFF2-40B4-BE49-F238E27FC236}">
                    <a16:creationId xmlns:a16="http://schemas.microsoft.com/office/drawing/2014/main" id="{A8DD2AEE-EEA1-418B-8B58-944B5A88DDFD}"/>
                  </a:ext>
                </a:extLst>
              </p:cNvPr>
              <p:cNvSpPr>
                <a:spLocks noChangeArrowheads="1"/>
              </p:cNvSpPr>
              <p:nvPr/>
            </p:nvSpPr>
            <p:spPr bwMode="auto">
              <a:xfrm>
                <a:off x="240390" y="4301823"/>
                <a:ext cx="1554278" cy="450560"/>
              </a:xfrm>
              <a:prstGeom prst="rect">
                <a:avLst/>
              </a:prstGeom>
              <a:gradFill>
                <a:gsLst>
                  <a:gs pos="0">
                    <a:srgbClr val="0D4577">
                      <a:tint val="66000"/>
                      <a:satMod val="160000"/>
                    </a:srgbClr>
                  </a:gs>
                  <a:gs pos="50000">
                    <a:srgbClr val="0D4577">
                      <a:tint val="44500"/>
                      <a:satMod val="160000"/>
                    </a:srgbClr>
                  </a:gs>
                  <a:gs pos="100000">
                    <a:srgbClr val="0D4577">
                      <a:tint val="23500"/>
                      <a:satMod val="160000"/>
                    </a:srgbClr>
                  </a:gs>
                </a:gsLst>
                <a:lin ang="5400000" scaled="0"/>
              </a:gradFill>
              <a:ln w="12700">
                <a:solidFill>
                  <a:srgbClr val="000000"/>
                </a:solidFill>
                <a:miter lim="800000"/>
                <a:headEnd/>
                <a:tailEnd/>
              </a:ln>
            </p:spPr>
            <p:txBody>
              <a:bodyPr>
                <a:spAutoFit/>
              </a:bodyPr>
              <a:lstStyle/>
              <a:p>
                <a:pPr lvl="0" algn="ctr">
                  <a:defRPr/>
                </a:pPr>
                <a:r>
                  <a:rPr lang="tr-TR" sz="800" dirty="0">
                    <a:latin typeface="Arial" panose="020B0604020202020204" pitchFamily="34" charset="0"/>
                    <a:cs typeface="Arial" panose="020B0604020202020204" pitchFamily="34" charset="0"/>
                  </a:rPr>
                  <a:t>Bakım Stratejisi Değişimi</a:t>
                </a:r>
              </a:p>
              <a:p>
                <a:pPr lvl="0" algn="ctr">
                  <a:defRPr/>
                </a:pPr>
                <a:r>
                  <a:rPr lang="tr-TR" sz="800" dirty="0">
                    <a:solidFill>
                      <a:srgbClr val="FF0000"/>
                    </a:solidFill>
                    <a:latin typeface="Arial" panose="020B0604020202020204" pitchFamily="34" charset="0"/>
                    <a:cs typeface="Arial" panose="020B0604020202020204" pitchFamily="34" charset="0"/>
                  </a:rPr>
                  <a:t>(</a:t>
                </a:r>
                <a:r>
                  <a:rPr lang="tr-TR" sz="800" b="1" dirty="0" err="1">
                    <a:solidFill>
                      <a:srgbClr val="FF0000"/>
                    </a:solidFill>
                    <a:latin typeface="Arial" panose="020B0604020202020204" pitchFamily="34" charset="0"/>
                    <a:cs typeface="Arial" panose="020B0604020202020204" pitchFamily="34" charset="0"/>
                  </a:rPr>
                  <a:t>Adapt</a:t>
                </a:r>
                <a:r>
                  <a:rPr lang="tr-TR" sz="800" b="1" dirty="0">
                    <a:solidFill>
                      <a:srgbClr val="FF0000"/>
                    </a:solidFill>
                    <a:latin typeface="Arial" panose="020B0604020202020204" pitchFamily="34" charset="0"/>
                    <a:cs typeface="Arial" panose="020B0604020202020204" pitchFamily="34" charset="0"/>
                  </a:rPr>
                  <a:t> RBM </a:t>
                </a:r>
                <a:r>
                  <a:rPr lang="tr-TR" sz="800" b="1" dirty="0" err="1">
                    <a:solidFill>
                      <a:srgbClr val="FF0000"/>
                    </a:solidFill>
                    <a:latin typeface="Arial" panose="020B0604020202020204" pitchFamily="34" charset="0"/>
                    <a:cs typeface="Arial" panose="020B0604020202020204" pitchFamily="34" charset="0"/>
                  </a:rPr>
                  <a:t>Strategies</a:t>
                </a:r>
                <a:r>
                  <a:rPr lang="tr-TR" sz="800" dirty="0">
                    <a:solidFill>
                      <a:srgbClr val="FF0000"/>
                    </a:solidFill>
                    <a:latin typeface="Arial" panose="020B0604020202020204" pitchFamily="34" charset="0"/>
                    <a:cs typeface="Arial" panose="020B0604020202020204" pitchFamily="34" charset="0"/>
                  </a:rPr>
                  <a:t>)</a:t>
                </a:r>
              </a:p>
            </p:txBody>
          </p:sp>
        </p:grpSp>
        <p:grpSp>
          <p:nvGrpSpPr>
            <p:cNvPr id="17" name="Group 154">
              <a:extLst>
                <a:ext uri="{FF2B5EF4-FFF2-40B4-BE49-F238E27FC236}">
                  <a16:creationId xmlns:a16="http://schemas.microsoft.com/office/drawing/2014/main" id="{B72F0DA0-8065-4339-A2C2-ED9D2AE8F0B1}"/>
                </a:ext>
              </a:extLst>
            </p:cNvPr>
            <p:cNvGrpSpPr>
              <a:grpSpLocks/>
            </p:cNvGrpSpPr>
            <p:nvPr/>
          </p:nvGrpSpPr>
          <p:grpSpPr bwMode="auto">
            <a:xfrm>
              <a:off x="1348359" y="507618"/>
              <a:ext cx="4260576" cy="2606661"/>
              <a:chOff x="1348359" y="507618"/>
              <a:chExt cx="4260576" cy="2606661"/>
            </a:xfrm>
          </p:grpSpPr>
          <p:cxnSp>
            <p:nvCxnSpPr>
              <p:cNvPr id="18" name="AutoShape 44">
                <a:extLst>
                  <a:ext uri="{FF2B5EF4-FFF2-40B4-BE49-F238E27FC236}">
                    <a16:creationId xmlns:a16="http://schemas.microsoft.com/office/drawing/2014/main" id="{A0CB0890-54F1-49B9-9FD7-CC8E045B20D1}"/>
                  </a:ext>
                </a:extLst>
              </p:cNvPr>
              <p:cNvCxnSpPr>
                <a:cxnSpLocks noChangeShapeType="1"/>
                <a:stCxn id="32" idx="2"/>
                <a:endCxn id="57" idx="0"/>
              </p:cNvCxnSpPr>
              <p:nvPr/>
            </p:nvCxnSpPr>
            <p:spPr bwMode="auto">
              <a:xfrm flipH="1">
                <a:off x="4552794" y="3018750"/>
                <a:ext cx="2760" cy="95529"/>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grpSp>
            <p:nvGrpSpPr>
              <p:cNvPr id="19" name="Group 152">
                <a:extLst>
                  <a:ext uri="{FF2B5EF4-FFF2-40B4-BE49-F238E27FC236}">
                    <a16:creationId xmlns:a16="http://schemas.microsoft.com/office/drawing/2014/main" id="{1AF49342-6269-4B38-BADE-ADA3EBA8ED01}"/>
                  </a:ext>
                </a:extLst>
              </p:cNvPr>
              <p:cNvGrpSpPr>
                <a:grpSpLocks/>
              </p:cNvGrpSpPr>
              <p:nvPr/>
            </p:nvGrpSpPr>
            <p:grpSpPr bwMode="auto">
              <a:xfrm>
                <a:off x="1348359" y="507618"/>
                <a:ext cx="4260576" cy="2511132"/>
                <a:chOff x="1348359" y="507618"/>
                <a:chExt cx="4260576" cy="2511132"/>
              </a:xfrm>
            </p:grpSpPr>
            <p:sp>
              <p:nvSpPr>
                <p:cNvPr id="20" name="TextBox 61">
                  <a:extLst>
                    <a:ext uri="{FF2B5EF4-FFF2-40B4-BE49-F238E27FC236}">
                      <a16:creationId xmlns:a16="http://schemas.microsoft.com/office/drawing/2014/main" id="{1DFDEB60-D0B7-4121-AA30-8BA070E7B991}"/>
                    </a:ext>
                  </a:extLst>
                </p:cNvPr>
                <p:cNvSpPr txBox="1">
                  <a:spLocks noChangeArrowheads="1"/>
                </p:cNvSpPr>
                <p:nvPr/>
              </p:nvSpPr>
              <p:spPr bwMode="auto">
                <a:xfrm>
                  <a:off x="4230707" y="1668092"/>
                  <a:ext cx="639808" cy="261121"/>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a:extLst/>
              </p:spPr>
              <p:txBody>
                <a:bodyPr>
                  <a:sp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685800" fontAlgn="auto">
                    <a:spcBef>
                      <a:spcPts val="0"/>
                    </a:spcBef>
                    <a:spcAft>
                      <a:spcPts val="0"/>
                    </a:spcAft>
                    <a:defRPr/>
                  </a:pPr>
                  <a:r>
                    <a:rPr lang="nl-NL" sz="675" kern="0" dirty="0">
                      <a:solidFill>
                        <a:srgbClr val="000000"/>
                      </a:solidFill>
                      <a:latin typeface="Arial" panose="020B0604020202020204" pitchFamily="34" charset="0"/>
                      <a:cs typeface="Arial" panose="020B0604020202020204" pitchFamily="34" charset="0"/>
                    </a:rPr>
                    <a:t>SIL</a:t>
                  </a:r>
                  <a:endParaRPr lang="en-US" sz="675" kern="0" dirty="0">
                    <a:solidFill>
                      <a:srgbClr val="000000"/>
                    </a:solidFill>
                    <a:latin typeface="Arial" panose="020B0604020202020204" pitchFamily="34" charset="0"/>
                    <a:cs typeface="Arial" panose="020B0604020202020204" pitchFamily="34" charset="0"/>
                  </a:endParaRPr>
                </a:p>
              </p:txBody>
            </p:sp>
            <p:sp>
              <p:nvSpPr>
                <p:cNvPr id="21" name="TextBox 61">
                  <a:extLst>
                    <a:ext uri="{FF2B5EF4-FFF2-40B4-BE49-F238E27FC236}">
                      <a16:creationId xmlns:a16="http://schemas.microsoft.com/office/drawing/2014/main" id="{9BBA9890-9830-401D-8332-E40873A07957}"/>
                    </a:ext>
                  </a:extLst>
                </p:cNvPr>
                <p:cNvSpPr txBox="1">
                  <a:spLocks noChangeArrowheads="1"/>
                </p:cNvSpPr>
                <p:nvPr/>
              </p:nvSpPr>
              <p:spPr bwMode="auto">
                <a:xfrm>
                  <a:off x="4961010" y="1671268"/>
                  <a:ext cx="639808" cy="261121"/>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a:extLst/>
              </p:spPr>
              <p:txBody>
                <a:bodyPr>
                  <a:sp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685800" fontAlgn="auto">
                    <a:spcBef>
                      <a:spcPts val="0"/>
                    </a:spcBef>
                    <a:spcAft>
                      <a:spcPts val="0"/>
                    </a:spcAft>
                    <a:defRPr/>
                  </a:pPr>
                  <a:r>
                    <a:rPr lang="nl-NL" sz="675" kern="0" dirty="0">
                      <a:solidFill>
                        <a:srgbClr val="000000"/>
                      </a:solidFill>
                      <a:latin typeface="Arial" panose="020B0604020202020204" pitchFamily="34" charset="0"/>
                      <a:cs typeface="Arial" panose="020B0604020202020204" pitchFamily="34" charset="0"/>
                    </a:rPr>
                    <a:t>RCM</a:t>
                  </a:r>
                  <a:endParaRPr lang="en-US" sz="675" kern="0" dirty="0">
                    <a:solidFill>
                      <a:srgbClr val="000000"/>
                    </a:solidFill>
                    <a:latin typeface="Arial" panose="020B0604020202020204" pitchFamily="34" charset="0"/>
                    <a:cs typeface="Arial" panose="020B0604020202020204" pitchFamily="34" charset="0"/>
                  </a:endParaRPr>
                </a:p>
              </p:txBody>
            </p:sp>
            <p:sp>
              <p:nvSpPr>
                <p:cNvPr id="22" name="TextBox 61">
                  <a:extLst>
                    <a:ext uri="{FF2B5EF4-FFF2-40B4-BE49-F238E27FC236}">
                      <a16:creationId xmlns:a16="http://schemas.microsoft.com/office/drawing/2014/main" id="{0ED5DCCE-A4A9-4CE5-8A95-820A5ACDB2EB}"/>
                    </a:ext>
                  </a:extLst>
                </p:cNvPr>
                <p:cNvSpPr txBox="1">
                  <a:spLocks noChangeArrowheads="1"/>
                </p:cNvSpPr>
                <p:nvPr/>
              </p:nvSpPr>
              <p:spPr bwMode="auto">
                <a:xfrm>
                  <a:off x="3506753" y="1660154"/>
                  <a:ext cx="639808" cy="261121"/>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a:extLst/>
              </p:spPr>
              <p:txBody>
                <a:bodyPr>
                  <a:sp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685800" fontAlgn="auto">
                    <a:spcBef>
                      <a:spcPts val="0"/>
                    </a:spcBef>
                    <a:spcAft>
                      <a:spcPts val="0"/>
                    </a:spcAft>
                    <a:defRPr/>
                  </a:pPr>
                  <a:r>
                    <a:rPr lang="nl-NL" sz="675" kern="0" dirty="0">
                      <a:solidFill>
                        <a:srgbClr val="000000"/>
                      </a:solidFill>
                      <a:latin typeface="Arial" panose="020B0604020202020204" pitchFamily="34" charset="0"/>
                      <a:cs typeface="Arial" panose="020B0604020202020204" pitchFamily="34" charset="0"/>
                    </a:rPr>
                    <a:t>RBI</a:t>
                  </a:r>
                  <a:endParaRPr lang="en-US" sz="675" kern="0" dirty="0">
                    <a:solidFill>
                      <a:srgbClr val="000000"/>
                    </a:solidFill>
                    <a:latin typeface="Arial" panose="020B0604020202020204" pitchFamily="34" charset="0"/>
                    <a:cs typeface="Arial" panose="020B0604020202020204" pitchFamily="34" charset="0"/>
                  </a:endParaRPr>
                </a:p>
              </p:txBody>
            </p:sp>
            <p:cxnSp>
              <p:nvCxnSpPr>
                <p:cNvPr id="23" name="AutoShape 45">
                  <a:extLst>
                    <a:ext uri="{FF2B5EF4-FFF2-40B4-BE49-F238E27FC236}">
                      <a16:creationId xmlns:a16="http://schemas.microsoft.com/office/drawing/2014/main" id="{609469E5-7408-4F0A-A2D1-D514D7A51BB6}"/>
                    </a:ext>
                  </a:extLst>
                </p:cNvPr>
                <p:cNvCxnSpPr>
                  <a:cxnSpLocks noChangeShapeType="1"/>
                  <a:stCxn id="29" idx="2"/>
                  <a:endCxn id="21" idx="0"/>
                </p:cNvCxnSpPr>
                <p:nvPr/>
              </p:nvCxnSpPr>
              <p:spPr bwMode="auto">
                <a:xfrm>
                  <a:off x="4557756" y="1531273"/>
                  <a:ext cx="723159" cy="139995"/>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4" name="AutoShape 45">
                  <a:extLst>
                    <a:ext uri="{FF2B5EF4-FFF2-40B4-BE49-F238E27FC236}">
                      <a16:creationId xmlns:a16="http://schemas.microsoft.com/office/drawing/2014/main" id="{12C70276-0614-4A3D-A0BA-C2528E4346AE}"/>
                    </a:ext>
                  </a:extLst>
                </p:cNvPr>
                <p:cNvCxnSpPr>
                  <a:cxnSpLocks noChangeShapeType="1"/>
                  <a:stCxn id="29" idx="2"/>
                  <a:endCxn id="20" idx="0"/>
                </p:cNvCxnSpPr>
                <p:nvPr/>
              </p:nvCxnSpPr>
              <p:spPr bwMode="auto">
                <a:xfrm flipH="1">
                  <a:off x="4550612" y="1531273"/>
                  <a:ext cx="7145" cy="136819"/>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5" name="AutoShape 45">
                  <a:extLst>
                    <a:ext uri="{FF2B5EF4-FFF2-40B4-BE49-F238E27FC236}">
                      <a16:creationId xmlns:a16="http://schemas.microsoft.com/office/drawing/2014/main" id="{30419995-15EC-47C0-A08E-182BF811DFF5}"/>
                    </a:ext>
                  </a:extLst>
                </p:cNvPr>
                <p:cNvCxnSpPr>
                  <a:cxnSpLocks noChangeShapeType="1"/>
                  <a:stCxn id="21" idx="2"/>
                  <a:endCxn id="32" idx="0"/>
                </p:cNvCxnSpPr>
                <p:nvPr/>
              </p:nvCxnSpPr>
              <p:spPr bwMode="auto">
                <a:xfrm flipH="1">
                  <a:off x="4555554" y="1932389"/>
                  <a:ext cx="725361" cy="34908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6" name="AutoShape 45">
                  <a:extLst>
                    <a:ext uri="{FF2B5EF4-FFF2-40B4-BE49-F238E27FC236}">
                      <a16:creationId xmlns:a16="http://schemas.microsoft.com/office/drawing/2014/main" id="{50FAF29F-EC26-4E46-827C-2C47A5619B05}"/>
                    </a:ext>
                  </a:extLst>
                </p:cNvPr>
                <p:cNvCxnSpPr>
                  <a:cxnSpLocks noChangeShapeType="1"/>
                  <a:stCxn id="20" idx="2"/>
                  <a:endCxn id="32" idx="0"/>
                </p:cNvCxnSpPr>
                <p:nvPr/>
              </p:nvCxnSpPr>
              <p:spPr bwMode="auto">
                <a:xfrm>
                  <a:off x="4550612" y="1929213"/>
                  <a:ext cx="4942" cy="352255"/>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7" name="AutoShape 45">
                  <a:extLst>
                    <a:ext uri="{FF2B5EF4-FFF2-40B4-BE49-F238E27FC236}">
                      <a16:creationId xmlns:a16="http://schemas.microsoft.com/office/drawing/2014/main" id="{662B9929-C7E5-47DE-B492-8338E3DF5FD8}"/>
                    </a:ext>
                  </a:extLst>
                </p:cNvPr>
                <p:cNvCxnSpPr>
                  <a:cxnSpLocks noChangeShapeType="1"/>
                  <a:stCxn id="22" idx="2"/>
                  <a:endCxn id="32" idx="0"/>
                </p:cNvCxnSpPr>
                <p:nvPr/>
              </p:nvCxnSpPr>
              <p:spPr bwMode="auto">
                <a:xfrm>
                  <a:off x="3826658" y="1921275"/>
                  <a:ext cx="728896" cy="36019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8" name="TextBox 7">
                  <a:extLst>
                    <a:ext uri="{FF2B5EF4-FFF2-40B4-BE49-F238E27FC236}">
                      <a16:creationId xmlns:a16="http://schemas.microsoft.com/office/drawing/2014/main" id="{38DA9EFC-BDD2-4D89-BC2E-D71932E2C5CB}"/>
                    </a:ext>
                  </a:extLst>
                </p:cNvPr>
                <p:cNvSpPr txBox="1">
                  <a:spLocks noChangeArrowheads="1"/>
                </p:cNvSpPr>
                <p:nvPr/>
              </p:nvSpPr>
              <p:spPr bwMode="auto">
                <a:xfrm>
                  <a:off x="3505816" y="507618"/>
                  <a:ext cx="2103119" cy="45056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lnSpc>
                      <a:spcPts val="2900"/>
                    </a:lnSpc>
                    <a:buClr>
                      <a:srgbClr val="3399FF"/>
                    </a:buClr>
                    <a:buChar char="•"/>
                    <a:defRPr sz="2000">
                      <a:solidFill>
                        <a:srgbClr val="004A7F"/>
                      </a:solidFill>
                      <a:latin typeface="Trebuchet MS" pitchFamily="34" charset="0"/>
                    </a:defRPr>
                  </a:lvl1pPr>
                  <a:lvl2pPr marL="742950" indent="-285750" eaLnBrk="0" hangingPunct="0">
                    <a:lnSpc>
                      <a:spcPts val="2900"/>
                    </a:lnSpc>
                    <a:buClr>
                      <a:srgbClr val="3399FF"/>
                    </a:buClr>
                    <a:buChar char="•"/>
                    <a:defRPr>
                      <a:solidFill>
                        <a:srgbClr val="004A7F"/>
                      </a:solidFill>
                      <a:latin typeface="Trebuchet MS" pitchFamily="34" charset="0"/>
                    </a:defRPr>
                  </a:lvl2pPr>
                  <a:lvl3pPr marL="1143000" indent="-228600" eaLnBrk="0" hangingPunct="0">
                    <a:lnSpc>
                      <a:spcPts val="2900"/>
                    </a:lnSpc>
                    <a:buClr>
                      <a:srgbClr val="3399FF"/>
                    </a:buClr>
                    <a:buChar char="•"/>
                    <a:defRPr sz="1600">
                      <a:solidFill>
                        <a:srgbClr val="004A7F"/>
                      </a:solidFill>
                      <a:latin typeface="Trebuchet MS" pitchFamily="34" charset="0"/>
                    </a:defRPr>
                  </a:lvl3pPr>
                  <a:lvl4pPr marL="1600200" indent="-228600" eaLnBrk="0" hangingPunct="0">
                    <a:lnSpc>
                      <a:spcPts val="2900"/>
                    </a:lnSpc>
                    <a:buClr>
                      <a:srgbClr val="3399FF"/>
                    </a:buClr>
                    <a:buChar char="•"/>
                    <a:defRPr sz="1600">
                      <a:solidFill>
                        <a:srgbClr val="004A7F"/>
                      </a:solidFill>
                      <a:latin typeface="Trebuchet MS" pitchFamily="34" charset="0"/>
                    </a:defRPr>
                  </a:lvl4pPr>
                  <a:lvl5pPr marL="2057400" indent="-228600" eaLnBrk="0" hangingPunct="0">
                    <a:lnSpc>
                      <a:spcPts val="2900"/>
                    </a:lnSpc>
                    <a:buClr>
                      <a:srgbClr val="3399FF"/>
                    </a:buClr>
                    <a:buChar char="•"/>
                    <a:defRPr sz="1600">
                      <a:solidFill>
                        <a:srgbClr val="004A7F"/>
                      </a:solidFill>
                      <a:latin typeface="Trebuchet MS" pitchFamily="34" charset="0"/>
                    </a:defRPr>
                  </a:lvl5pPr>
                  <a:lvl6pPr marL="25146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6pPr>
                  <a:lvl7pPr marL="29718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7pPr>
                  <a:lvl8pPr marL="34290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8pPr>
                  <a:lvl9pPr marL="3886200" indent="-228600" eaLnBrk="0" fontAlgn="base" hangingPunct="0">
                    <a:lnSpc>
                      <a:spcPts val="2900"/>
                    </a:lnSpc>
                    <a:spcBef>
                      <a:spcPct val="0"/>
                    </a:spcBef>
                    <a:spcAft>
                      <a:spcPct val="0"/>
                    </a:spcAft>
                    <a:buClr>
                      <a:srgbClr val="3399FF"/>
                    </a:buClr>
                    <a:buChar char="•"/>
                    <a:defRPr sz="1600">
                      <a:solidFill>
                        <a:srgbClr val="004A7F"/>
                      </a:solidFill>
                      <a:latin typeface="Trebuchet MS" pitchFamily="34" charset="0"/>
                    </a:defRPr>
                  </a:lvl9pPr>
                </a:lstStyle>
                <a:p>
                  <a:pPr lvl="0" algn="ctr" eaLnBrk="1" hangingPunct="1">
                    <a:lnSpc>
                      <a:spcPct val="100000"/>
                    </a:lnSpc>
                    <a:buClrTx/>
                    <a:buNone/>
                    <a:defRPr/>
                  </a:pPr>
                  <a:r>
                    <a:rPr lang="tr-TR" sz="800" dirty="0">
                      <a:solidFill>
                        <a:schemeClr val="tx1"/>
                      </a:solidFill>
                      <a:latin typeface="Arial" panose="020B0604020202020204" pitchFamily="34" charset="0"/>
                      <a:cs typeface="Arial" panose="020B0604020202020204" pitchFamily="34" charset="0"/>
                    </a:rPr>
                    <a:t>Varlık Kayıtlar </a:t>
                  </a:r>
                </a:p>
                <a:p>
                  <a:pPr lvl="0" algn="ctr" eaLnBrk="1" hangingPunct="1">
                    <a:lnSpc>
                      <a:spcPct val="100000"/>
                    </a:lnSpc>
                    <a:buClrTx/>
                    <a:buNone/>
                    <a:defRPr/>
                  </a:pPr>
                  <a:r>
                    <a:rPr lang="tr-TR" sz="800" dirty="0">
                      <a:solidFill>
                        <a:srgbClr val="FF0000"/>
                      </a:solidFill>
                      <a:latin typeface="Arial" panose="020B0604020202020204" pitchFamily="34" charset="0"/>
                      <a:cs typeface="Arial" panose="020B0604020202020204" pitchFamily="34" charset="0"/>
                    </a:rPr>
                    <a:t>(</a:t>
                  </a:r>
                  <a:r>
                    <a:rPr lang="tr-TR" sz="800" b="1" dirty="0" err="1">
                      <a:solidFill>
                        <a:srgbClr val="FF0000"/>
                      </a:solidFill>
                      <a:latin typeface="Arial" panose="020B0604020202020204" pitchFamily="34" charset="0"/>
                      <a:cs typeface="Arial" panose="020B0604020202020204" pitchFamily="34" charset="0"/>
                    </a:rPr>
                    <a:t>Asset</a:t>
                  </a:r>
                  <a:r>
                    <a:rPr lang="tr-TR" sz="800" b="1" dirty="0">
                      <a:solidFill>
                        <a:srgbClr val="FF0000"/>
                      </a:solidFill>
                      <a:latin typeface="Arial" panose="020B0604020202020204" pitchFamily="34" charset="0"/>
                      <a:cs typeface="Arial" panose="020B0604020202020204" pitchFamily="34" charset="0"/>
                    </a:rPr>
                    <a:t> </a:t>
                  </a:r>
                  <a:r>
                    <a:rPr lang="tr-TR" sz="800" b="1" dirty="0" err="1">
                      <a:solidFill>
                        <a:srgbClr val="FF0000"/>
                      </a:solidFill>
                      <a:latin typeface="Arial" panose="020B0604020202020204" pitchFamily="34" charset="0"/>
                      <a:cs typeface="Arial" panose="020B0604020202020204" pitchFamily="34" charset="0"/>
                    </a:rPr>
                    <a:t>Register</a:t>
                  </a:r>
                  <a:r>
                    <a:rPr lang="tr-TR" sz="800" b="1" dirty="0">
                      <a:solidFill>
                        <a:srgbClr val="FF0000"/>
                      </a:solidFill>
                      <a:latin typeface="Arial" panose="020B0604020202020204" pitchFamily="34" charset="0"/>
                      <a:cs typeface="Arial" panose="020B0604020202020204" pitchFamily="34" charset="0"/>
                    </a:rPr>
                    <a:t>)</a:t>
                  </a:r>
                  <a:r>
                    <a:rPr lang="tr-TR" sz="800" dirty="0">
                      <a:solidFill>
                        <a:prstClr val="white"/>
                      </a:solidFill>
                      <a:latin typeface="Arial" panose="020B0604020202020204" pitchFamily="34" charset="0"/>
                      <a:cs typeface="Arial" panose="020B0604020202020204" pitchFamily="34" charset="0"/>
                    </a:rPr>
                    <a:t>)</a:t>
                  </a:r>
                </a:p>
              </p:txBody>
            </p:sp>
            <p:sp>
              <p:nvSpPr>
                <p:cNvPr id="29" name="TextBox 60">
                  <a:extLst>
                    <a:ext uri="{FF2B5EF4-FFF2-40B4-BE49-F238E27FC236}">
                      <a16:creationId xmlns:a16="http://schemas.microsoft.com/office/drawing/2014/main" id="{C37BC6F3-A0EE-4C25-A64E-D4D32EDAA644}"/>
                    </a:ext>
                  </a:extLst>
                </p:cNvPr>
                <p:cNvSpPr txBox="1">
                  <a:spLocks noChangeArrowheads="1"/>
                </p:cNvSpPr>
                <p:nvPr/>
              </p:nvSpPr>
              <p:spPr bwMode="auto">
                <a:xfrm>
                  <a:off x="3506753" y="1080713"/>
                  <a:ext cx="2102007" cy="450560"/>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a:extLst/>
              </p:spPr>
              <p:txBody>
                <a:bodyPr>
                  <a:spAutoFit/>
                </a:bodyPr>
                <a:lstStyle>
                  <a:defPPr>
                    <a:defRPr lang="nl-NL"/>
                  </a:defPPr>
                  <a:lvl1pPr algn="ctr" eaLnBrk="1" hangingPunct="1">
                    <a:defRPr sz="1400"/>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lvl="0">
                    <a:defRPr/>
                  </a:pPr>
                  <a:r>
                    <a:rPr lang="tr-TR" sz="800" b="1" dirty="0">
                      <a:latin typeface="Arial" panose="020B0604020202020204" pitchFamily="34" charset="0"/>
                      <a:cs typeface="Arial" panose="020B0604020202020204" pitchFamily="34" charset="0"/>
                    </a:rPr>
                    <a:t>Kritiklik Analizi</a:t>
                  </a:r>
                </a:p>
                <a:p>
                  <a:pPr lvl="0">
                    <a:defRPr/>
                  </a:pPr>
                  <a:r>
                    <a:rPr lang="tr-TR" sz="800" b="1" dirty="0">
                      <a:solidFill>
                        <a:srgbClr val="FF0000"/>
                      </a:solidFill>
                      <a:latin typeface="Arial" panose="020B0604020202020204" pitchFamily="34" charset="0"/>
                      <a:cs typeface="Arial" panose="020B0604020202020204" pitchFamily="34" charset="0"/>
                    </a:rPr>
                    <a:t>(</a:t>
                  </a:r>
                  <a:r>
                    <a:rPr lang="en-US" sz="800" b="1" dirty="0">
                      <a:solidFill>
                        <a:srgbClr val="FF0000"/>
                      </a:solidFill>
                      <a:latin typeface="Arial" panose="020B0604020202020204" pitchFamily="34" charset="0"/>
                      <a:cs typeface="Arial" panose="020B0604020202020204" pitchFamily="34" charset="0"/>
                    </a:rPr>
                    <a:t>Criticality Analysis</a:t>
                  </a:r>
                  <a:r>
                    <a:rPr lang="tr-TR" sz="800" b="1" dirty="0">
                      <a:solidFill>
                        <a:srgbClr val="FF0000"/>
                      </a:solidFill>
                      <a:latin typeface="Arial" panose="020B0604020202020204" pitchFamily="34" charset="0"/>
                      <a:cs typeface="Arial" panose="020B0604020202020204" pitchFamily="34" charset="0"/>
                    </a:rPr>
                    <a:t>)</a:t>
                  </a:r>
                </a:p>
              </p:txBody>
            </p:sp>
            <p:cxnSp>
              <p:nvCxnSpPr>
                <p:cNvPr id="30" name="AutoShape 45">
                  <a:extLst>
                    <a:ext uri="{FF2B5EF4-FFF2-40B4-BE49-F238E27FC236}">
                      <a16:creationId xmlns:a16="http://schemas.microsoft.com/office/drawing/2014/main" id="{9332F5EE-AFE1-46D9-9A32-104DA3D7AB7A}"/>
                    </a:ext>
                  </a:extLst>
                </p:cNvPr>
                <p:cNvCxnSpPr>
                  <a:cxnSpLocks noChangeShapeType="1"/>
                  <a:stCxn id="28" idx="2"/>
                  <a:endCxn id="29" idx="0"/>
                </p:cNvCxnSpPr>
                <p:nvPr/>
              </p:nvCxnSpPr>
              <p:spPr bwMode="auto">
                <a:xfrm>
                  <a:off x="4557376" y="958178"/>
                  <a:ext cx="380" cy="12253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31" name="AutoShape 45">
                  <a:extLst>
                    <a:ext uri="{FF2B5EF4-FFF2-40B4-BE49-F238E27FC236}">
                      <a16:creationId xmlns:a16="http://schemas.microsoft.com/office/drawing/2014/main" id="{7397B794-78B9-41ED-B3D5-710895E36140}"/>
                    </a:ext>
                  </a:extLst>
                </p:cNvPr>
                <p:cNvCxnSpPr>
                  <a:cxnSpLocks noChangeShapeType="1"/>
                  <a:stCxn id="29" idx="2"/>
                </p:cNvCxnSpPr>
                <p:nvPr/>
              </p:nvCxnSpPr>
              <p:spPr bwMode="auto">
                <a:xfrm flipH="1">
                  <a:off x="3825857" y="1531273"/>
                  <a:ext cx="731900" cy="12918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32" name="TextBox 79">
                  <a:extLst>
                    <a:ext uri="{FF2B5EF4-FFF2-40B4-BE49-F238E27FC236}">
                      <a16:creationId xmlns:a16="http://schemas.microsoft.com/office/drawing/2014/main" id="{39583089-9DDF-4B6F-8833-A977F3915247}"/>
                    </a:ext>
                  </a:extLst>
                </p:cNvPr>
                <p:cNvSpPr txBox="1">
                  <a:spLocks noChangeArrowheads="1"/>
                </p:cNvSpPr>
                <p:nvPr/>
              </p:nvSpPr>
              <p:spPr bwMode="auto">
                <a:xfrm>
                  <a:off x="3504551" y="2281469"/>
                  <a:ext cx="2102007" cy="737281"/>
                </a:xfrm>
                <a:prstGeom prst="rect">
                  <a:avLst/>
                </a:prstGeom>
                <a:gradFill flip="none" rotWithShape="1">
                  <a:gsLst>
                    <a:gs pos="0">
                      <a:srgbClr val="0D4577">
                        <a:tint val="66000"/>
                        <a:satMod val="160000"/>
                      </a:srgbClr>
                    </a:gs>
                    <a:gs pos="50000">
                      <a:srgbClr val="0D4577">
                        <a:tint val="44500"/>
                        <a:satMod val="160000"/>
                      </a:srgbClr>
                    </a:gs>
                    <a:gs pos="100000">
                      <a:srgbClr val="0D4577">
                        <a:tint val="23500"/>
                        <a:satMod val="160000"/>
                      </a:srgbClr>
                    </a:gs>
                  </a:gsLst>
                  <a:lin ang="2700000" scaled="1"/>
                  <a:tileRect/>
                </a:gradFill>
                <a:ln w="12700">
                  <a:solidFill>
                    <a:srgbClr val="000000"/>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0" algn="ctr" eaLnBrk="1" hangingPunct="1">
                    <a:defRPr/>
                  </a:pPr>
                  <a:r>
                    <a:rPr lang="tr-TR" sz="800" dirty="0"/>
                    <a:t>Risk tabanlı Bakım Stratejileri</a:t>
                  </a:r>
                </a:p>
                <a:p>
                  <a:pPr lvl="0" algn="ctr" eaLnBrk="1" hangingPunct="1">
                    <a:defRPr/>
                  </a:pPr>
                  <a:r>
                    <a:rPr lang="tr-TR" sz="800" dirty="0" err="1"/>
                    <a:t>Kestrimci</a:t>
                  </a:r>
                  <a:r>
                    <a:rPr lang="tr-TR" sz="800" dirty="0"/>
                    <a:t>, zaman bazlı ve </a:t>
                  </a:r>
                  <a:r>
                    <a:rPr lang="tr-TR" sz="800" dirty="0" err="1"/>
                    <a:t>arizi</a:t>
                  </a:r>
                  <a:r>
                    <a:rPr lang="tr-TR" sz="800" dirty="0"/>
                    <a:t> </a:t>
                  </a:r>
                </a:p>
                <a:p>
                  <a:pPr lvl="0" algn="ctr" eaLnBrk="1" hangingPunct="1">
                    <a:defRPr/>
                  </a:pPr>
                  <a:r>
                    <a:rPr lang="tr-TR" sz="800" dirty="0">
                      <a:solidFill>
                        <a:prstClr val="white"/>
                      </a:solidFill>
                    </a:rPr>
                    <a:t>(</a:t>
                  </a:r>
                  <a:r>
                    <a:rPr lang="tr-TR" sz="800" b="1" dirty="0">
                      <a:solidFill>
                        <a:srgbClr val="FF0000"/>
                      </a:solidFill>
                    </a:rPr>
                    <a:t>Risk </a:t>
                  </a:r>
                  <a:r>
                    <a:rPr lang="tr-TR" sz="800" b="1" dirty="0" err="1">
                      <a:solidFill>
                        <a:srgbClr val="FF0000"/>
                      </a:solidFill>
                    </a:rPr>
                    <a:t>Based</a:t>
                  </a:r>
                  <a:r>
                    <a:rPr lang="tr-TR" sz="800" b="1" dirty="0">
                      <a:solidFill>
                        <a:srgbClr val="FF0000"/>
                      </a:solidFill>
                    </a:rPr>
                    <a:t> </a:t>
                  </a:r>
                  <a:r>
                    <a:rPr lang="tr-TR" sz="800" b="1" dirty="0" err="1">
                      <a:solidFill>
                        <a:srgbClr val="FF0000"/>
                      </a:solidFill>
                    </a:rPr>
                    <a:t>Maintenance</a:t>
                  </a:r>
                  <a:r>
                    <a:rPr lang="tr-TR" sz="800" b="1" dirty="0">
                      <a:solidFill>
                        <a:srgbClr val="FF0000"/>
                      </a:solidFill>
                    </a:rPr>
                    <a:t> </a:t>
                  </a:r>
                  <a:r>
                    <a:rPr lang="tr-TR" sz="800" b="1" dirty="0" err="1">
                      <a:solidFill>
                        <a:srgbClr val="FF0000"/>
                      </a:solidFill>
                    </a:rPr>
                    <a:t>Strategies</a:t>
                  </a:r>
                  <a:endParaRPr lang="tr-TR" sz="800" b="1" dirty="0">
                    <a:solidFill>
                      <a:srgbClr val="FF0000"/>
                    </a:solidFill>
                  </a:endParaRPr>
                </a:p>
                <a:p>
                  <a:pPr lvl="0" algn="ctr" eaLnBrk="1" hangingPunct="1">
                    <a:defRPr/>
                  </a:pPr>
                  <a:r>
                    <a:rPr lang="tr-TR" sz="600" dirty="0">
                      <a:solidFill>
                        <a:srgbClr val="FF0000"/>
                      </a:solidFill>
                    </a:rPr>
                    <a:t>Run </a:t>
                  </a:r>
                  <a:r>
                    <a:rPr lang="tr-TR" sz="600" dirty="0" err="1">
                      <a:solidFill>
                        <a:srgbClr val="FF0000"/>
                      </a:solidFill>
                    </a:rPr>
                    <a:t>to</a:t>
                  </a:r>
                  <a:r>
                    <a:rPr lang="tr-TR" sz="600" dirty="0">
                      <a:solidFill>
                        <a:srgbClr val="FF0000"/>
                      </a:solidFill>
                    </a:rPr>
                    <a:t> </a:t>
                  </a:r>
                  <a:r>
                    <a:rPr lang="tr-TR" sz="600" dirty="0" err="1">
                      <a:solidFill>
                        <a:srgbClr val="FF0000"/>
                      </a:solidFill>
                    </a:rPr>
                    <a:t>failure</a:t>
                  </a:r>
                  <a:r>
                    <a:rPr lang="tr-TR" sz="600" dirty="0">
                      <a:solidFill>
                        <a:srgbClr val="FF0000"/>
                      </a:solidFill>
                    </a:rPr>
                    <a:t>, </a:t>
                  </a:r>
                  <a:r>
                    <a:rPr lang="tr-TR" sz="600" dirty="0" err="1">
                      <a:solidFill>
                        <a:srgbClr val="FF0000"/>
                      </a:solidFill>
                    </a:rPr>
                    <a:t>Fixed</a:t>
                  </a:r>
                  <a:r>
                    <a:rPr lang="tr-TR" sz="600" dirty="0">
                      <a:solidFill>
                        <a:srgbClr val="FF0000"/>
                      </a:solidFill>
                    </a:rPr>
                    <a:t> </a:t>
                  </a:r>
                  <a:r>
                    <a:rPr lang="tr-TR" sz="600" dirty="0" err="1">
                      <a:solidFill>
                        <a:srgbClr val="FF0000"/>
                      </a:solidFill>
                    </a:rPr>
                    <a:t>İnterval</a:t>
                  </a:r>
                  <a:r>
                    <a:rPr lang="tr-TR" sz="600" dirty="0">
                      <a:solidFill>
                        <a:srgbClr val="FF0000"/>
                      </a:solidFill>
                    </a:rPr>
                    <a:t>, </a:t>
                  </a:r>
                  <a:r>
                    <a:rPr lang="tr-TR" sz="600" dirty="0" err="1">
                      <a:solidFill>
                        <a:srgbClr val="FF0000"/>
                      </a:solidFill>
                    </a:rPr>
                    <a:t>Condition</a:t>
                  </a:r>
                  <a:r>
                    <a:rPr lang="tr-TR" sz="600" dirty="0">
                      <a:solidFill>
                        <a:srgbClr val="FF0000"/>
                      </a:solidFill>
                    </a:rPr>
                    <a:t> </a:t>
                  </a:r>
                  <a:r>
                    <a:rPr lang="tr-TR" sz="600" dirty="0" err="1">
                      <a:solidFill>
                        <a:srgbClr val="FF0000"/>
                      </a:solidFill>
                    </a:rPr>
                    <a:t>based</a:t>
                  </a:r>
                  <a:r>
                    <a:rPr lang="tr-TR" sz="600" dirty="0">
                      <a:solidFill>
                        <a:srgbClr val="FF0000"/>
                      </a:solidFill>
                    </a:rPr>
                    <a:t>)</a:t>
                  </a:r>
                  <a:endParaRPr lang="tr-TR" sz="1000" dirty="0">
                    <a:solidFill>
                      <a:srgbClr val="FF0000"/>
                    </a:solidFill>
                  </a:endParaRPr>
                </a:p>
              </p:txBody>
            </p:sp>
            <p:cxnSp>
              <p:nvCxnSpPr>
                <p:cNvPr id="33" name="AutoShape 42">
                  <a:extLst>
                    <a:ext uri="{FF2B5EF4-FFF2-40B4-BE49-F238E27FC236}">
                      <a16:creationId xmlns:a16="http://schemas.microsoft.com/office/drawing/2014/main" id="{A0D45ED0-6B9A-4359-8FF1-32C3C2006C78}"/>
                    </a:ext>
                  </a:extLst>
                </p:cNvPr>
                <p:cNvCxnSpPr>
                  <a:cxnSpLocks noChangeShapeType="1"/>
                </p:cNvCxnSpPr>
                <p:nvPr/>
              </p:nvCxnSpPr>
              <p:spPr bwMode="auto">
                <a:xfrm rot="10800000">
                  <a:off x="1348359" y="1496977"/>
                  <a:ext cx="3216637" cy="608507"/>
                </a:xfrm>
                <a:prstGeom prst="bentConnector2">
                  <a:avLst/>
                </a:prstGeom>
                <a:noFill/>
                <a:ln w="19050">
                  <a:solidFill>
                    <a:srgbClr val="000000"/>
                  </a:solidFill>
                  <a:prstDash val="dash"/>
                  <a:miter lim="800000"/>
                  <a:headEnd/>
                  <a:tailEnd type="triangle" w="med" len="med"/>
                </a:ln>
                <a:extLst>
                  <a:ext uri="{909E8E84-426E-40DD-AFC4-6F175D3DCCD1}">
                    <a14:hiddenFill xmlns:a14="http://schemas.microsoft.com/office/drawing/2010/main">
                      <a:noFill/>
                    </a14:hiddenFill>
                  </a:ext>
                </a:extLst>
              </p:spPr>
            </p:cxnSp>
          </p:grpSp>
        </p:grpSp>
      </p:grpSp>
    </p:spTree>
    <p:extLst>
      <p:ext uri="{BB962C8B-B14F-4D97-AF65-F5344CB8AC3E}">
        <p14:creationId xmlns:p14="http://schemas.microsoft.com/office/powerpoint/2010/main" val="25017280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62</TotalTime>
  <Words>1701</Words>
  <Application>Microsoft Office PowerPoint</Application>
  <PresentationFormat>Widescreen</PresentationFormat>
  <Paragraphs>310</Paragraphs>
  <Slides>32</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ＭＳ Ｐゴシック</vt:lpstr>
      <vt:lpstr>Arial</vt:lpstr>
      <vt:lpstr>Arial</vt:lpstr>
      <vt:lpstr>Calibri</vt:lpstr>
      <vt:lpstr>Calibri Light</vt:lpstr>
      <vt:lpstr>Open Sans Light</vt:lpstr>
      <vt:lpstr>Trebuchet MS</vt:lpstr>
      <vt:lpstr>Wingdings</vt:lpstr>
      <vt:lpstr>Office Teması</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Örnek Vaka Analiz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Melek Karadağ</dc:creator>
  <cp:lastModifiedBy>Emre EROĞLU</cp:lastModifiedBy>
  <cp:revision>75</cp:revision>
  <dcterms:created xsi:type="dcterms:W3CDTF">2023-03-08T14:19:06Z</dcterms:created>
  <dcterms:modified xsi:type="dcterms:W3CDTF">2023-05-03T14:4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b9953ea7-2ca2-4fbc-a377-f78b0376dbb9</vt:lpwstr>
  </property>
  <property fmtid="{D5CDD505-2E9C-101B-9397-08002B2CF9AE}" pid="3" name="ExpireDate">
    <vt:lpwstr>2025-03-15</vt:lpwstr>
  </property>
  <property fmtid="{D5CDD505-2E9C-101B-9397-08002B2CF9AE}" pid="4" name="Classification">
    <vt:lpwstr>Pb-cf60d06</vt:lpwstr>
  </property>
  <property fmtid="{D5CDD505-2E9C-101B-9397-08002B2CF9AE}" pid="5" name="KVKK">
    <vt:lpwstr>H02-0xf5</vt:lpwstr>
  </property>
</Properties>
</file>